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autoCompressPictures="0">
  <p:sldMasterIdLst>
    <p:sldMasterId id="2147483648" r:id="rId1"/>
  </p:sldMasterIdLst>
  <p:notesMasterIdLst>
    <p:notesMasterId r:id="rId20"/>
  </p:notesMasterIdLst>
  <p:handoutMasterIdLst>
    <p:handoutMasterId r:id="rId21"/>
  </p:handoutMasterIdLst>
  <p:sldIdLst>
    <p:sldId id="359" r:id="rId2"/>
    <p:sldId id="1689" r:id="rId3"/>
    <p:sldId id="1729" r:id="rId4"/>
    <p:sldId id="1715" r:id="rId5"/>
    <p:sldId id="1725" r:id="rId6"/>
    <p:sldId id="1726" r:id="rId7"/>
    <p:sldId id="1727" r:id="rId8"/>
    <p:sldId id="1728" r:id="rId9"/>
    <p:sldId id="1644" r:id="rId10"/>
    <p:sldId id="286" r:id="rId11"/>
    <p:sldId id="1721" r:id="rId12"/>
    <p:sldId id="1722" r:id="rId13"/>
    <p:sldId id="1723" r:id="rId14"/>
    <p:sldId id="1648" r:id="rId15"/>
    <p:sldId id="1730" r:id="rId16"/>
    <p:sldId id="1653" r:id="rId17"/>
    <p:sldId id="1654" r:id="rId18"/>
    <p:sldId id="275" r:id="rId19"/>
  </p:sldIdLst>
  <p:sldSz cx="12192000" cy="6858000"/>
  <p:notesSz cx="6858000" cy="9144000"/>
  <p:embeddedFontLst>
    <p:embeddedFont>
      <p:font typeface="PT Sans" panose="020B0503020203020204" pitchFamily="34" charset="0"/>
      <p:regular r:id="rId22"/>
      <p:bold r:id="rId23"/>
      <p:italic r:id="rId24"/>
      <p:boldItalic r:id="rId25"/>
    </p:embeddedFont>
    <p:embeddedFont>
      <p:font typeface="Yu Gothic Light" panose="020B0300000000000000" pitchFamily="34" charset="-128"/>
      <p:regular r:id="rId26"/>
    </p:embeddedFont>
  </p:embeddedFontLst>
  <p:custDataLst>
    <p:tags r:id="rId27"/>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Master-Layouts" id="{E0AC8B35-0F8B-41E5-82FA-68AC7D4C0D6E}">
          <p14:sldIdLst>
            <p14:sldId id="359"/>
            <p14:sldId id="1689"/>
            <p14:sldId id="1729"/>
            <p14:sldId id="1715"/>
            <p14:sldId id="1725"/>
            <p14:sldId id="1726"/>
            <p14:sldId id="1727"/>
            <p14:sldId id="1728"/>
            <p14:sldId id="1644"/>
            <p14:sldId id="286"/>
            <p14:sldId id="1721"/>
            <p14:sldId id="1722"/>
            <p14:sldId id="1723"/>
            <p14:sldId id="1648"/>
            <p14:sldId id="1730"/>
            <p14:sldId id="1653"/>
            <p14:sldId id="1654"/>
            <p14:sldId id="275"/>
          </p14:sldIdLst>
        </p14:section>
        <p14:section name="Folienbibliothek" id="{6794B3C1-7E0C-4E7A-BF51-910F8800D102}">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scaleToFitPaper="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F5AB1C69-6EDB-4FF4-983F-18BD219EF322}" styleName="Mittlere Formatvorlage 2 - Akz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73A0DAA-6AF3-43AB-8588-CEC1D06C72B9}" styleName="Mittlere Formatvorlag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987" autoAdjust="0"/>
    <p:restoredTop sz="94608" autoAdjust="0"/>
  </p:normalViewPr>
  <p:slideViewPr>
    <p:cSldViewPr snapToGrid="0" showGuides="1">
      <p:cViewPr varScale="1">
        <p:scale>
          <a:sx n="94" d="100"/>
          <a:sy n="94" d="100"/>
        </p:scale>
        <p:origin x="144" y="96"/>
      </p:cViewPr>
      <p:guideLst/>
    </p:cSldViewPr>
  </p:slideViewPr>
  <p:outlineViewPr>
    <p:cViewPr>
      <p:scale>
        <a:sx n="33" d="100"/>
        <a:sy n="33" d="100"/>
      </p:scale>
      <p:origin x="0" y="-36672"/>
    </p:cViewPr>
  </p:outlineViewPr>
  <p:notesTextViewPr>
    <p:cViewPr>
      <p:scale>
        <a:sx n="3" d="2"/>
        <a:sy n="3" d="2"/>
      </p:scale>
      <p:origin x="0" y="0"/>
    </p:cViewPr>
  </p:notesTextViewPr>
  <p:sorterViewPr>
    <p:cViewPr>
      <p:scale>
        <a:sx n="50" d="100"/>
        <a:sy n="50" d="100"/>
      </p:scale>
      <p:origin x="0" y="-5814"/>
    </p:cViewPr>
  </p:sorterViewPr>
  <p:notesViewPr>
    <p:cSldViewPr snapToGrid="0" showGuides="1">
      <p:cViewPr varScale="1">
        <p:scale>
          <a:sx n="80" d="100"/>
          <a:sy n="80" d="100"/>
        </p:scale>
        <p:origin x="3918" y="108"/>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font" Target="fonts/font5.fntdata"/><Relationship Id="rId3" Type="http://schemas.openxmlformats.org/officeDocument/2006/relationships/slide" Target="slides/slide2.xml"/><Relationship Id="rId21" Type="http://schemas.openxmlformats.org/officeDocument/2006/relationships/handoutMaster" Target="handoutMasters/handoutMaster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font" Target="fonts/font4.fntdata"/><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notesMaster" Target="notesMasters/notesMaster1.xml"/><Relationship Id="rId29"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font" Target="fonts/font3.fntdata"/><Relationship Id="rId32" Type="http://schemas.microsoft.com/office/2016/11/relationships/changesInfo" Target="changesInfos/changesInfo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font" Target="fonts/font2.fntdata"/><Relationship Id="rId28" Type="http://schemas.openxmlformats.org/officeDocument/2006/relationships/presProps" Target="presProp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font" Target="fonts/font1.fntdata"/><Relationship Id="rId27" Type="http://schemas.openxmlformats.org/officeDocument/2006/relationships/tags" Target="tags/tag1.xml"/><Relationship Id="rId30" Type="http://schemas.openxmlformats.org/officeDocument/2006/relationships/theme" Target="theme/theme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Philip Wenzel" userId="6acc32ce-9657-429b-a204-ad039ae9e71f" providerId="ADAL" clId="{090B2B86-1487-4811-B486-491339EC5E96}"/>
    <pc:docChg chg="addSld delSld modSld modSection">
      <pc:chgData name="Philip Wenzel" userId="6acc32ce-9657-429b-a204-ad039ae9e71f" providerId="ADAL" clId="{090B2B86-1487-4811-B486-491339EC5E96}" dt="2024-05-15T13:20:01.697" v="86" actId="20577"/>
      <pc:docMkLst>
        <pc:docMk/>
      </pc:docMkLst>
      <pc:sldChg chg="add del">
        <pc:chgData name="Philip Wenzel" userId="6acc32ce-9657-429b-a204-ad039ae9e71f" providerId="ADAL" clId="{090B2B86-1487-4811-B486-491339EC5E96}" dt="2024-05-15T13:11:09.269" v="83"/>
        <pc:sldMkLst>
          <pc:docMk/>
          <pc:sldMk cId="3071119971" sldId="286"/>
        </pc:sldMkLst>
      </pc:sldChg>
      <pc:sldChg chg="modSp mod">
        <pc:chgData name="Philip Wenzel" userId="6acc32ce-9657-429b-a204-ad039ae9e71f" providerId="ADAL" clId="{090B2B86-1487-4811-B486-491339EC5E96}" dt="2024-05-15T13:09:31.659" v="80" actId="20577"/>
        <pc:sldMkLst>
          <pc:docMk/>
          <pc:sldMk cId="84909877" sldId="359"/>
        </pc:sldMkLst>
        <pc:spChg chg="mod">
          <ac:chgData name="Philip Wenzel" userId="6acc32ce-9657-429b-a204-ad039ae9e71f" providerId="ADAL" clId="{090B2B86-1487-4811-B486-491339EC5E96}" dt="2024-05-15T13:09:17.337" v="37" actId="20577"/>
          <ac:spMkLst>
            <pc:docMk/>
            <pc:sldMk cId="84909877" sldId="359"/>
            <ac:spMk id="5" creationId="{CC24C50A-6133-4997-BD17-338D41E40979}"/>
          </ac:spMkLst>
        </pc:spChg>
        <pc:spChg chg="mod">
          <ac:chgData name="Philip Wenzel" userId="6acc32ce-9657-429b-a204-ad039ae9e71f" providerId="ADAL" clId="{090B2B86-1487-4811-B486-491339EC5E96}" dt="2024-05-15T13:09:31.659" v="80" actId="20577"/>
          <ac:spMkLst>
            <pc:docMk/>
            <pc:sldMk cId="84909877" sldId="359"/>
            <ac:spMk id="6" creationId="{73A397DA-5884-49B1-AE71-81733D306727}"/>
          </ac:spMkLst>
        </pc:spChg>
      </pc:sldChg>
      <pc:sldChg chg="add del">
        <pc:chgData name="Philip Wenzel" userId="6acc32ce-9657-429b-a204-ad039ae9e71f" providerId="ADAL" clId="{090B2B86-1487-4811-B486-491339EC5E96}" dt="2024-05-15T13:11:09.269" v="83"/>
        <pc:sldMkLst>
          <pc:docMk/>
          <pc:sldMk cId="1357229521" sldId="1644"/>
        </pc:sldMkLst>
      </pc:sldChg>
      <pc:sldChg chg="del">
        <pc:chgData name="Philip Wenzel" userId="6acc32ce-9657-429b-a204-ad039ae9e71f" providerId="ADAL" clId="{090B2B86-1487-4811-B486-491339EC5E96}" dt="2024-05-15T13:09:47.401" v="81" actId="47"/>
        <pc:sldMkLst>
          <pc:docMk/>
          <pc:sldMk cId="4270938230" sldId="1646"/>
        </pc:sldMkLst>
      </pc:sldChg>
      <pc:sldChg chg="del">
        <pc:chgData name="Philip Wenzel" userId="6acc32ce-9657-429b-a204-ad039ae9e71f" providerId="ADAL" clId="{090B2B86-1487-4811-B486-491339EC5E96}" dt="2024-05-15T13:09:47.401" v="81" actId="47"/>
        <pc:sldMkLst>
          <pc:docMk/>
          <pc:sldMk cId="1970436842" sldId="1649"/>
        </pc:sldMkLst>
      </pc:sldChg>
      <pc:sldChg chg="add">
        <pc:chgData name="Philip Wenzel" userId="6acc32ce-9657-429b-a204-ad039ae9e71f" providerId="ADAL" clId="{090B2B86-1487-4811-B486-491339EC5E96}" dt="2024-05-15T13:13:52.788" v="84"/>
        <pc:sldMkLst>
          <pc:docMk/>
          <pc:sldMk cId="3092946271" sldId="1653"/>
        </pc:sldMkLst>
      </pc:sldChg>
      <pc:sldChg chg="modSp add mod">
        <pc:chgData name="Philip Wenzel" userId="6acc32ce-9657-429b-a204-ad039ae9e71f" providerId="ADAL" clId="{090B2B86-1487-4811-B486-491339EC5E96}" dt="2024-05-15T13:20:01.697" v="86" actId="20577"/>
        <pc:sldMkLst>
          <pc:docMk/>
          <pc:sldMk cId="2045958582" sldId="1654"/>
        </pc:sldMkLst>
        <pc:spChg chg="mod">
          <ac:chgData name="Philip Wenzel" userId="6acc32ce-9657-429b-a204-ad039ae9e71f" providerId="ADAL" clId="{090B2B86-1487-4811-B486-491339EC5E96}" dt="2024-05-15T13:20:01.697" v="86" actId="20577"/>
          <ac:spMkLst>
            <pc:docMk/>
            <pc:sldMk cId="2045958582" sldId="1654"/>
            <ac:spMk id="2" creationId="{4249AB66-CBBB-43EF-9ADD-D056233717BF}"/>
          </ac:spMkLst>
        </pc:spChg>
      </pc:sldChg>
      <pc:sldChg chg="del">
        <pc:chgData name="Philip Wenzel" userId="6acc32ce-9657-429b-a204-ad039ae9e71f" providerId="ADAL" clId="{090B2B86-1487-4811-B486-491339EC5E96}" dt="2024-05-15T13:09:47.401" v="81" actId="47"/>
        <pc:sldMkLst>
          <pc:docMk/>
          <pc:sldMk cId="3836058342" sldId="1657"/>
        </pc:sldMkLst>
      </pc:sldChg>
      <pc:sldChg chg="del">
        <pc:chgData name="Philip Wenzel" userId="6acc32ce-9657-429b-a204-ad039ae9e71f" providerId="ADAL" clId="{090B2B86-1487-4811-B486-491339EC5E96}" dt="2024-05-15T13:10:01.995" v="82" actId="47"/>
        <pc:sldMkLst>
          <pc:docMk/>
          <pc:sldMk cId="1987473619" sldId="1710"/>
        </pc:sldMkLst>
      </pc:sldChg>
      <pc:sldChg chg="del">
        <pc:chgData name="Philip Wenzel" userId="6acc32ce-9657-429b-a204-ad039ae9e71f" providerId="ADAL" clId="{090B2B86-1487-4811-B486-491339EC5E96}" dt="2024-05-15T13:09:47.401" v="81" actId="47"/>
        <pc:sldMkLst>
          <pc:docMk/>
          <pc:sldMk cId="998889274" sldId="1718"/>
        </pc:sldMkLst>
      </pc:sldChg>
      <pc:sldChg chg="del">
        <pc:chgData name="Philip Wenzel" userId="6acc32ce-9657-429b-a204-ad039ae9e71f" providerId="ADAL" clId="{090B2B86-1487-4811-B486-491339EC5E96}" dt="2024-05-15T13:09:47.401" v="81" actId="47"/>
        <pc:sldMkLst>
          <pc:docMk/>
          <pc:sldMk cId="3239353352" sldId="1719"/>
        </pc:sldMkLst>
      </pc:sldChg>
      <pc:sldChg chg="del">
        <pc:chgData name="Philip Wenzel" userId="6acc32ce-9657-429b-a204-ad039ae9e71f" providerId="ADAL" clId="{090B2B86-1487-4811-B486-491339EC5E96}" dt="2024-05-15T13:09:47.401" v="81" actId="47"/>
        <pc:sldMkLst>
          <pc:docMk/>
          <pc:sldMk cId="60565150" sldId="1720"/>
        </pc:sldMkLst>
      </pc:sldChg>
      <pc:sldChg chg="add del">
        <pc:chgData name="Philip Wenzel" userId="6acc32ce-9657-429b-a204-ad039ae9e71f" providerId="ADAL" clId="{090B2B86-1487-4811-B486-491339EC5E96}" dt="2024-05-15T13:11:09.269" v="83"/>
        <pc:sldMkLst>
          <pc:docMk/>
          <pc:sldMk cId="2862462976" sldId="1721"/>
        </pc:sldMkLst>
      </pc:sldChg>
      <pc:sldChg chg="add del">
        <pc:chgData name="Philip Wenzel" userId="6acc32ce-9657-429b-a204-ad039ae9e71f" providerId="ADAL" clId="{090B2B86-1487-4811-B486-491339EC5E96}" dt="2024-05-15T13:11:09.269" v="83"/>
        <pc:sldMkLst>
          <pc:docMk/>
          <pc:sldMk cId="3854244583" sldId="1722"/>
        </pc:sldMkLst>
      </pc:sldChg>
      <pc:sldChg chg="add del">
        <pc:chgData name="Philip Wenzel" userId="6acc32ce-9657-429b-a204-ad039ae9e71f" providerId="ADAL" clId="{090B2B86-1487-4811-B486-491339EC5E96}" dt="2024-05-15T13:11:09.269" v="83"/>
        <pc:sldMkLst>
          <pc:docMk/>
          <pc:sldMk cId="4192237461" sldId="1723"/>
        </pc:sldMkLst>
      </pc:sldChg>
      <pc:sldChg chg="del">
        <pc:chgData name="Philip Wenzel" userId="6acc32ce-9657-429b-a204-ad039ae9e71f" providerId="ADAL" clId="{090B2B86-1487-4811-B486-491339EC5E96}" dt="2024-05-15T13:09:47.401" v="81" actId="47"/>
        <pc:sldMkLst>
          <pc:docMk/>
          <pc:sldMk cId="3111226694" sldId="1724"/>
        </pc:sldMkLst>
      </pc:sldChg>
      <pc:sldChg chg="modSp">
        <pc:chgData name="Philip Wenzel" userId="6acc32ce-9657-429b-a204-ad039ae9e71f" providerId="ADAL" clId="{090B2B86-1487-4811-B486-491339EC5E96}" dt="2024-05-15T13:19:53.773" v="85" actId="20577"/>
        <pc:sldMkLst>
          <pc:docMk/>
          <pc:sldMk cId="2031489675" sldId="1730"/>
        </pc:sldMkLst>
        <pc:spChg chg="mod">
          <ac:chgData name="Philip Wenzel" userId="6acc32ce-9657-429b-a204-ad039ae9e71f" providerId="ADAL" clId="{090B2B86-1487-4811-B486-491339EC5E96}" dt="2024-05-15T13:19:53.773" v="85" actId="20577"/>
          <ac:spMkLst>
            <pc:docMk/>
            <pc:sldMk cId="2031489675" sldId="1730"/>
            <ac:spMk id="3" creationId="{DF4EFF8A-432F-EE7B-9094-9DB92A4FC2EF}"/>
          </ac:spMkLst>
        </pc:spChg>
      </pc:sldChg>
    </pc:docChg>
  </pc:docChgLst>
  <pc:docChgLst>
    <pc:chgData name="Folke Bachmann" userId="3f01aa86-2566-4128-8ad1-957ff8b165f9" providerId="ADAL" clId="{75EB95FB-2532-4285-BD20-4014B9E64BDB}"/>
    <pc:docChg chg="delSld modSection">
      <pc:chgData name="Folke Bachmann" userId="3f01aa86-2566-4128-8ad1-957ff8b165f9" providerId="ADAL" clId="{75EB95FB-2532-4285-BD20-4014B9E64BDB}" dt="2024-07-12T14:58:02.766" v="0" actId="2696"/>
      <pc:docMkLst>
        <pc:docMk/>
      </pc:docMkLst>
      <pc:sldChg chg="del">
        <pc:chgData name="Folke Bachmann" userId="3f01aa86-2566-4128-8ad1-957ff8b165f9" providerId="ADAL" clId="{75EB95FB-2532-4285-BD20-4014B9E64BDB}" dt="2024-07-12T14:58:02.766" v="0" actId="2696"/>
        <pc:sldMkLst>
          <pc:docMk/>
          <pc:sldMk cId="1195126823" sldId="278"/>
        </pc:sldMkLst>
      </pc:sldChg>
      <pc:sldChg chg="del">
        <pc:chgData name="Folke Bachmann" userId="3f01aa86-2566-4128-8ad1-957ff8b165f9" providerId="ADAL" clId="{75EB95FB-2532-4285-BD20-4014B9E64BDB}" dt="2024-07-12T14:58:02.766" v="0" actId="2696"/>
        <pc:sldMkLst>
          <pc:docMk/>
          <pc:sldMk cId="1510473394" sldId="280"/>
        </pc:sldMkLst>
      </pc:sldChg>
      <pc:sldChg chg="del">
        <pc:chgData name="Folke Bachmann" userId="3f01aa86-2566-4128-8ad1-957ff8b165f9" providerId="ADAL" clId="{75EB95FB-2532-4285-BD20-4014B9E64BDB}" dt="2024-07-12T14:58:02.766" v="0" actId="2696"/>
        <pc:sldMkLst>
          <pc:docMk/>
          <pc:sldMk cId="3446831779" sldId="281"/>
        </pc:sldMkLst>
      </pc:sldChg>
      <pc:sldChg chg="del">
        <pc:chgData name="Folke Bachmann" userId="3f01aa86-2566-4128-8ad1-957ff8b165f9" providerId="ADAL" clId="{75EB95FB-2532-4285-BD20-4014B9E64BDB}" dt="2024-07-12T14:58:02.766" v="0" actId="2696"/>
        <pc:sldMkLst>
          <pc:docMk/>
          <pc:sldMk cId="1756029256" sldId="293"/>
        </pc:sldMkLst>
      </pc:sldChg>
      <pc:sldChg chg="del">
        <pc:chgData name="Folke Bachmann" userId="3f01aa86-2566-4128-8ad1-957ff8b165f9" providerId="ADAL" clId="{75EB95FB-2532-4285-BD20-4014B9E64BDB}" dt="2024-07-12T14:58:02.766" v="0" actId="2696"/>
        <pc:sldMkLst>
          <pc:docMk/>
          <pc:sldMk cId="1772711628" sldId="295"/>
        </pc:sldMkLst>
      </pc:sldChg>
      <pc:sldChg chg="del">
        <pc:chgData name="Folke Bachmann" userId="3f01aa86-2566-4128-8ad1-957ff8b165f9" providerId="ADAL" clId="{75EB95FB-2532-4285-BD20-4014B9E64BDB}" dt="2024-07-12T14:58:02.766" v="0" actId="2696"/>
        <pc:sldMkLst>
          <pc:docMk/>
          <pc:sldMk cId="1136158713" sldId="296"/>
        </pc:sldMkLst>
      </pc:sldChg>
      <pc:sldChg chg="del">
        <pc:chgData name="Folke Bachmann" userId="3f01aa86-2566-4128-8ad1-957ff8b165f9" providerId="ADAL" clId="{75EB95FB-2532-4285-BD20-4014B9E64BDB}" dt="2024-07-12T14:58:02.766" v="0" actId="2696"/>
        <pc:sldMkLst>
          <pc:docMk/>
          <pc:sldMk cId="3631278334" sldId="297"/>
        </pc:sldMkLst>
      </pc:sldChg>
      <pc:sldChg chg="del">
        <pc:chgData name="Folke Bachmann" userId="3f01aa86-2566-4128-8ad1-957ff8b165f9" providerId="ADAL" clId="{75EB95FB-2532-4285-BD20-4014B9E64BDB}" dt="2024-07-12T14:58:02.766" v="0" actId="2696"/>
        <pc:sldMkLst>
          <pc:docMk/>
          <pc:sldMk cId="384679272" sldId="298"/>
        </pc:sldMkLst>
      </pc:sldChg>
      <pc:sldChg chg="del">
        <pc:chgData name="Folke Bachmann" userId="3f01aa86-2566-4128-8ad1-957ff8b165f9" providerId="ADAL" clId="{75EB95FB-2532-4285-BD20-4014B9E64BDB}" dt="2024-07-12T14:58:02.766" v="0" actId="2696"/>
        <pc:sldMkLst>
          <pc:docMk/>
          <pc:sldMk cId="2447670940" sldId="300"/>
        </pc:sldMkLst>
      </pc:sldChg>
      <pc:sldChg chg="del">
        <pc:chgData name="Folke Bachmann" userId="3f01aa86-2566-4128-8ad1-957ff8b165f9" providerId="ADAL" clId="{75EB95FB-2532-4285-BD20-4014B9E64BDB}" dt="2024-07-12T14:58:02.766" v="0" actId="2696"/>
        <pc:sldMkLst>
          <pc:docMk/>
          <pc:sldMk cId="2382381998" sldId="315"/>
        </pc:sldMkLst>
      </pc:sldChg>
      <pc:sldChg chg="del">
        <pc:chgData name="Folke Bachmann" userId="3f01aa86-2566-4128-8ad1-957ff8b165f9" providerId="ADAL" clId="{75EB95FB-2532-4285-BD20-4014B9E64BDB}" dt="2024-07-12T14:58:02.766" v="0" actId="2696"/>
        <pc:sldMkLst>
          <pc:docMk/>
          <pc:sldMk cId="1756672214" sldId="316"/>
        </pc:sldMkLst>
      </pc:sldChg>
      <pc:sldChg chg="del">
        <pc:chgData name="Folke Bachmann" userId="3f01aa86-2566-4128-8ad1-957ff8b165f9" providerId="ADAL" clId="{75EB95FB-2532-4285-BD20-4014B9E64BDB}" dt="2024-07-12T14:58:02.766" v="0" actId="2696"/>
        <pc:sldMkLst>
          <pc:docMk/>
          <pc:sldMk cId="2234474726" sldId="317"/>
        </pc:sldMkLst>
      </pc:sldChg>
      <pc:sldChg chg="del">
        <pc:chgData name="Folke Bachmann" userId="3f01aa86-2566-4128-8ad1-957ff8b165f9" providerId="ADAL" clId="{75EB95FB-2532-4285-BD20-4014B9E64BDB}" dt="2024-07-12T14:58:02.766" v="0" actId="2696"/>
        <pc:sldMkLst>
          <pc:docMk/>
          <pc:sldMk cId="685463710" sldId="319"/>
        </pc:sldMkLst>
      </pc:sldChg>
      <pc:sldChg chg="del">
        <pc:chgData name="Folke Bachmann" userId="3f01aa86-2566-4128-8ad1-957ff8b165f9" providerId="ADAL" clId="{75EB95FB-2532-4285-BD20-4014B9E64BDB}" dt="2024-07-12T14:58:02.766" v="0" actId="2696"/>
        <pc:sldMkLst>
          <pc:docMk/>
          <pc:sldMk cId="2008017774" sldId="320"/>
        </pc:sldMkLst>
      </pc:sldChg>
      <pc:sldChg chg="del">
        <pc:chgData name="Folke Bachmann" userId="3f01aa86-2566-4128-8ad1-957ff8b165f9" providerId="ADAL" clId="{75EB95FB-2532-4285-BD20-4014B9E64BDB}" dt="2024-07-12T14:58:02.766" v="0" actId="2696"/>
        <pc:sldMkLst>
          <pc:docMk/>
          <pc:sldMk cId="2147848765" sldId="322"/>
        </pc:sldMkLst>
      </pc:sldChg>
      <pc:sldChg chg="del">
        <pc:chgData name="Folke Bachmann" userId="3f01aa86-2566-4128-8ad1-957ff8b165f9" providerId="ADAL" clId="{75EB95FB-2532-4285-BD20-4014B9E64BDB}" dt="2024-07-12T14:58:02.766" v="0" actId="2696"/>
        <pc:sldMkLst>
          <pc:docMk/>
          <pc:sldMk cId="1768220681" sldId="323"/>
        </pc:sldMkLst>
      </pc:sldChg>
      <pc:sldChg chg="del">
        <pc:chgData name="Folke Bachmann" userId="3f01aa86-2566-4128-8ad1-957ff8b165f9" providerId="ADAL" clId="{75EB95FB-2532-4285-BD20-4014B9E64BDB}" dt="2024-07-12T14:58:02.766" v="0" actId="2696"/>
        <pc:sldMkLst>
          <pc:docMk/>
          <pc:sldMk cId="1155092282" sldId="325"/>
        </pc:sldMkLst>
      </pc:sldChg>
      <pc:sldChg chg="del">
        <pc:chgData name="Folke Bachmann" userId="3f01aa86-2566-4128-8ad1-957ff8b165f9" providerId="ADAL" clId="{75EB95FB-2532-4285-BD20-4014B9E64BDB}" dt="2024-07-12T14:58:02.766" v="0" actId="2696"/>
        <pc:sldMkLst>
          <pc:docMk/>
          <pc:sldMk cId="1906850863" sldId="326"/>
        </pc:sldMkLst>
      </pc:sldChg>
      <pc:sldChg chg="del">
        <pc:chgData name="Folke Bachmann" userId="3f01aa86-2566-4128-8ad1-957ff8b165f9" providerId="ADAL" clId="{75EB95FB-2532-4285-BD20-4014B9E64BDB}" dt="2024-07-12T14:58:02.766" v="0" actId="2696"/>
        <pc:sldMkLst>
          <pc:docMk/>
          <pc:sldMk cId="2173221907" sldId="327"/>
        </pc:sldMkLst>
      </pc:sldChg>
      <pc:sldChg chg="del">
        <pc:chgData name="Folke Bachmann" userId="3f01aa86-2566-4128-8ad1-957ff8b165f9" providerId="ADAL" clId="{75EB95FB-2532-4285-BD20-4014B9E64BDB}" dt="2024-07-12T14:58:02.766" v="0" actId="2696"/>
        <pc:sldMkLst>
          <pc:docMk/>
          <pc:sldMk cId="2231675622" sldId="328"/>
        </pc:sldMkLst>
      </pc:sldChg>
      <pc:sldChg chg="del">
        <pc:chgData name="Folke Bachmann" userId="3f01aa86-2566-4128-8ad1-957ff8b165f9" providerId="ADAL" clId="{75EB95FB-2532-4285-BD20-4014B9E64BDB}" dt="2024-07-12T14:58:02.766" v="0" actId="2696"/>
        <pc:sldMkLst>
          <pc:docMk/>
          <pc:sldMk cId="3001152802" sldId="329"/>
        </pc:sldMkLst>
      </pc:sldChg>
      <pc:sldChg chg="del">
        <pc:chgData name="Folke Bachmann" userId="3f01aa86-2566-4128-8ad1-957ff8b165f9" providerId="ADAL" clId="{75EB95FB-2532-4285-BD20-4014B9E64BDB}" dt="2024-07-12T14:58:02.766" v="0" actId="2696"/>
        <pc:sldMkLst>
          <pc:docMk/>
          <pc:sldMk cId="364771371" sldId="330"/>
        </pc:sldMkLst>
      </pc:sldChg>
      <pc:sldChg chg="del">
        <pc:chgData name="Folke Bachmann" userId="3f01aa86-2566-4128-8ad1-957ff8b165f9" providerId="ADAL" clId="{75EB95FB-2532-4285-BD20-4014B9E64BDB}" dt="2024-07-12T14:58:02.766" v="0" actId="2696"/>
        <pc:sldMkLst>
          <pc:docMk/>
          <pc:sldMk cId="486069620" sldId="331"/>
        </pc:sldMkLst>
      </pc:sldChg>
      <pc:sldChg chg="del">
        <pc:chgData name="Folke Bachmann" userId="3f01aa86-2566-4128-8ad1-957ff8b165f9" providerId="ADAL" clId="{75EB95FB-2532-4285-BD20-4014B9E64BDB}" dt="2024-07-12T14:58:02.766" v="0" actId="2696"/>
        <pc:sldMkLst>
          <pc:docMk/>
          <pc:sldMk cId="902978571" sldId="332"/>
        </pc:sldMkLst>
      </pc:sldChg>
      <pc:sldChg chg="del">
        <pc:chgData name="Folke Bachmann" userId="3f01aa86-2566-4128-8ad1-957ff8b165f9" providerId="ADAL" clId="{75EB95FB-2532-4285-BD20-4014B9E64BDB}" dt="2024-07-12T14:58:02.766" v="0" actId="2696"/>
        <pc:sldMkLst>
          <pc:docMk/>
          <pc:sldMk cId="2802184453" sldId="333"/>
        </pc:sldMkLst>
      </pc:sldChg>
      <pc:sldChg chg="del">
        <pc:chgData name="Folke Bachmann" userId="3f01aa86-2566-4128-8ad1-957ff8b165f9" providerId="ADAL" clId="{75EB95FB-2532-4285-BD20-4014B9E64BDB}" dt="2024-07-12T14:58:02.766" v="0" actId="2696"/>
        <pc:sldMkLst>
          <pc:docMk/>
          <pc:sldMk cId="1296701782" sldId="334"/>
        </pc:sldMkLst>
      </pc:sldChg>
      <pc:sldChg chg="del">
        <pc:chgData name="Folke Bachmann" userId="3f01aa86-2566-4128-8ad1-957ff8b165f9" providerId="ADAL" clId="{75EB95FB-2532-4285-BD20-4014B9E64BDB}" dt="2024-07-12T14:58:02.766" v="0" actId="2696"/>
        <pc:sldMkLst>
          <pc:docMk/>
          <pc:sldMk cId="833263822" sldId="336"/>
        </pc:sldMkLst>
      </pc:sldChg>
      <pc:sldChg chg="del">
        <pc:chgData name="Folke Bachmann" userId="3f01aa86-2566-4128-8ad1-957ff8b165f9" providerId="ADAL" clId="{75EB95FB-2532-4285-BD20-4014B9E64BDB}" dt="2024-07-12T14:58:02.766" v="0" actId="2696"/>
        <pc:sldMkLst>
          <pc:docMk/>
          <pc:sldMk cId="330114962" sldId="341"/>
        </pc:sldMkLst>
      </pc:sldChg>
      <pc:sldChg chg="del">
        <pc:chgData name="Folke Bachmann" userId="3f01aa86-2566-4128-8ad1-957ff8b165f9" providerId="ADAL" clId="{75EB95FB-2532-4285-BD20-4014B9E64BDB}" dt="2024-07-12T14:58:02.766" v="0" actId="2696"/>
        <pc:sldMkLst>
          <pc:docMk/>
          <pc:sldMk cId="2728289916" sldId="342"/>
        </pc:sldMkLst>
      </pc:sldChg>
      <pc:sldChg chg="del">
        <pc:chgData name="Folke Bachmann" userId="3f01aa86-2566-4128-8ad1-957ff8b165f9" providerId="ADAL" clId="{75EB95FB-2532-4285-BD20-4014B9E64BDB}" dt="2024-07-12T14:58:02.766" v="0" actId="2696"/>
        <pc:sldMkLst>
          <pc:docMk/>
          <pc:sldMk cId="1289673961" sldId="343"/>
        </pc:sldMkLst>
      </pc:sldChg>
      <pc:sldChg chg="del">
        <pc:chgData name="Folke Bachmann" userId="3f01aa86-2566-4128-8ad1-957ff8b165f9" providerId="ADAL" clId="{75EB95FB-2532-4285-BD20-4014B9E64BDB}" dt="2024-07-12T14:58:02.766" v="0" actId="2696"/>
        <pc:sldMkLst>
          <pc:docMk/>
          <pc:sldMk cId="2681001035" sldId="347"/>
        </pc:sldMkLst>
      </pc:sldChg>
      <pc:sldChg chg="del">
        <pc:chgData name="Folke Bachmann" userId="3f01aa86-2566-4128-8ad1-957ff8b165f9" providerId="ADAL" clId="{75EB95FB-2532-4285-BD20-4014B9E64BDB}" dt="2024-07-12T14:58:02.766" v="0" actId="2696"/>
        <pc:sldMkLst>
          <pc:docMk/>
          <pc:sldMk cId="1593625809" sldId="348"/>
        </pc:sldMkLst>
      </pc:sldChg>
      <pc:sldChg chg="del">
        <pc:chgData name="Folke Bachmann" userId="3f01aa86-2566-4128-8ad1-957ff8b165f9" providerId="ADAL" clId="{75EB95FB-2532-4285-BD20-4014B9E64BDB}" dt="2024-07-12T14:58:02.766" v="0" actId="2696"/>
        <pc:sldMkLst>
          <pc:docMk/>
          <pc:sldMk cId="968430137" sldId="349"/>
        </pc:sldMkLst>
      </pc:sldChg>
      <pc:sldChg chg="del">
        <pc:chgData name="Folke Bachmann" userId="3f01aa86-2566-4128-8ad1-957ff8b165f9" providerId="ADAL" clId="{75EB95FB-2532-4285-BD20-4014B9E64BDB}" dt="2024-07-12T14:58:02.766" v="0" actId="2696"/>
        <pc:sldMkLst>
          <pc:docMk/>
          <pc:sldMk cId="2008378277" sldId="350"/>
        </pc:sldMkLst>
      </pc:sldChg>
      <pc:sldChg chg="del">
        <pc:chgData name="Folke Bachmann" userId="3f01aa86-2566-4128-8ad1-957ff8b165f9" providerId="ADAL" clId="{75EB95FB-2532-4285-BD20-4014B9E64BDB}" dt="2024-07-12T14:58:02.766" v="0" actId="2696"/>
        <pc:sldMkLst>
          <pc:docMk/>
          <pc:sldMk cId="1358283070" sldId="351"/>
        </pc:sldMkLst>
      </pc:sldChg>
      <pc:sldChg chg="del">
        <pc:chgData name="Folke Bachmann" userId="3f01aa86-2566-4128-8ad1-957ff8b165f9" providerId="ADAL" clId="{75EB95FB-2532-4285-BD20-4014B9E64BDB}" dt="2024-07-12T14:58:02.766" v="0" actId="2696"/>
        <pc:sldMkLst>
          <pc:docMk/>
          <pc:sldMk cId="3741056242" sldId="352"/>
        </pc:sldMkLst>
      </pc:sldChg>
      <pc:sldChg chg="del">
        <pc:chgData name="Folke Bachmann" userId="3f01aa86-2566-4128-8ad1-957ff8b165f9" providerId="ADAL" clId="{75EB95FB-2532-4285-BD20-4014B9E64BDB}" dt="2024-07-12T14:58:02.766" v="0" actId="2696"/>
        <pc:sldMkLst>
          <pc:docMk/>
          <pc:sldMk cId="3767869490" sldId="353"/>
        </pc:sldMkLst>
      </pc:sldChg>
      <pc:sldChg chg="del">
        <pc:chgData name="Folke Bachmann" userId="3f01aa86-2566-4128-8ad1-957ff8b165f9" providerId="ADAL" clId="{75EB95FB-2532-4285-BD20-4014B9E64BDB}" dt="2024-07-12T14:58:02.766" v="0" actId="2696"/>
        <pc:sldMkLst>
          <pc:docMk/>
          <pc:sldMk cId="2071764689" sldId="354"/>
        </pc:sldMkLst>
      </pc:sldChg>
      <pc:sldChg chg="del">
        <pc:chgData name="Folke Bachmann" userId="3f01aa86-2566-4128-8ad1-957ff8b165f9" providerId="ADAL" clId="{75EB95FB-2532-4285-BD20-4014B9E64BDB}" dt="2024-07-12T14:58:02.766" v="0" actId="2696"/>
        <pc:sldMkLst>
          <pc:docMk/>
          <pc:sldMk cId="2455478622" sldId="358"/>
        </pc:sldMkLst>
      </pc:sldChg>
      <pc:sldChg chg="del">
        <pc:chgData name="Folke Bachmann" userId="3f01aa86-2566-4128-8ad1-957ff8b165f9" providerId="ADAL" clId="{75EB95FB-2532-4285-BD20-4014B9E64BDB}" dt="2024-07-12T14:58:02.766" v="0" actId="2696"/>
        <pc:sldMkLst>
          <pc:docMk/>
          <pc:sldMk cId="2427770867" sldId="368"/>
        </pc:sldMkLst>
      </pc:sldChg>
      <pc:sldChg chg="del">
        <pc:chgData name="Folke Bachmann" userId="3f01aa86-2566-4128-8ad1-957ff8b165f9" providerId="ADAL" clId="{75EB95FB-2532-4285-BD20-4014B9E64BDB}" dt="2024-07-12T14:58:02.766" v="0" actId="2696"/>
        <pc:sldMkLst>
          <pc:docMk/>
          <pc:sldMk cId="2234290805" sldId="369"/>
        </pc:sldMkLst>
      </pc:sldChg>
      <pc:sldChg chg="del">
        <pc:chgData name="Folke Bachmann" userId="3f01aa86-2566-4128-8ad1-957ff8b165f9" providerId="ADAL" clId="{75EB95FB-2532-4285-BD20-4014B9E64BDB}" dt="2024-07-12T14:58:02.766" v="0" actId="2696"/>
        <pc:sldMkLst>
          <pc:docMk/>
          <pc:sldMk cId="3114407530" sldId="370"/>
        </pc:sldMkLst>
      </pc:sldChg>
      <pc:sldChg chg="del">
        <pc:chgData name="Folke Bachmann" userId="3f01aa86-2566-4128-8ad1-957ff8b165f9" providerId="ADAL" clId="{75EB95FB-2532-4285-BD20-4014B9E64BDB}" dt="2024-07-12T14:58:02.766" v="0" actId="2696"/>
        <pc:sldMkLst>
          <pc:docMk/>
          <pc:sldMk cId="1942466799" sldId="376"/>
        </pc:sldMkLst>
      </pc:sldChg>
      <pc:sldChg chg="del">
        <pc:chgData name="Folke Bachmann" userId="3f01aa86-2566-4128-8ad1-957ff8b165f9" providerId="ADAL" clId="{75EB95FB-2532-4285-BD20-4014B9E64BDB}" dt="2024-07-12T14:58:02.766" v="0" actId="2696"/>
        <pc:sldMkLst>
          <pc:docMk/>
          <pc:sldMk cId="1008130001" sldId="378"/>
        </pc:sldMkLst>
      </pc:sldChg>
      <pc:sldChg chg="del">
        <pc:chgData name="Folke Bachmann" userId="3f01aa86-2566-4128-8ad1-957ff8b165f9" providerId="ADAL" clId="{75EB95FB-2532-4285-BD20-4014B9E64BDB}" dt="2024-07-12T14:58:02.766" v="0" actId="2696"/>
        <pc:sldMkLst>
          <pc:docMk/>
          <pc:sldMk cId="712359554" sldId="379"/>
        </pc:sldMkLst>
      </pc:sldChg>
      <pc:sldChg chg="del">
        <pc:chgData name="Folke Bachmann" userId="3f01aa86-2566-4128-8ad1-957ff8b165f9" providerId="ADAL" clId="{75EB95FB-2532-4285-BD20-4014B9E64BDB}" dt="2024-07-12T14:58:02.766" v="0" actId="2696"/>
        <pc:sldMkLst>
          <pc:docMk/>
          <pc:sldMk cId="2626067772" sldId="381"/>
        </pc:sldMkLst>
      </pc:sldChg>
      <pc:sldChg chg="del">
        <pc:chgData name="Folke Bachmann" userId="3f01aa86-2566-4128-8ad1-957ff8b165f9" providerId="ADAL" clId="{75EB95FB-2532-4285-BD20-4014B9E64BDB}" dt="2024-07-12T14:58:02.766" v="0" actId="2696"/>
        <pc:sldMkLst>
          <pc:docMk/>
          <pc:sldMk cId="1397837704" sldId="382"/>
        </pc:sldMkLst>
      </pc:sldChg>
      <pc:sldChg chg="del">
        <pc:chgData name="Folke Bachmann" userId="3f01aa86-2566-4128-8ad1-957ff8b165f9" providerId="ADAL" clId="{75EB95FB-2532-4285-BD20-4014B9E64BDB}" dt="2024-07-12T14:58:02.766" v="0" actId="2696"/>
        <pc:sldMkLst>
          <pc:docMk/>
          <pc:sldMk cId="544816012" sldId="383"/>
        </pc:sldMkLst>
      </pc:sldChg>
      <pc:sldChg chg="del">
        <pc:chgData name="Folke Bachmann" userId="3f01aa86-2566-4128-8ad1-957ff8b165f9" providerId="ADAL" clId="{75EB95FB-2532-4285-BD20-4014B9E64BDB}" dt="2024-07-12T14:58:02.766" v="0" actId="2696"/>
        <pc:sldMkLst>
          <pc:docMk/>
          <pc:sldMk cId="3770284523" sldId="384"/>
        </pc:sldMkLst>
      </pc:sldChg>
      <pc:sldChg chg="del">
        <pc:chgData name="Folke Bachmann" userId="3f01aa86-2566-4128-8ad1-957ff8b165f9" providerId="ADAL" clId="{75EB95FB-2532-4285-BD20-4014B9E64BDB}" dt="2024-07-12T14:58:02.766" v="0" actId="2696"/>
        <pc:sldMkLst>
          <pc:docMk/>
          <pc:sldMk cId="1231462183" sldId="385"/>
        </pc:sldMkLst>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a:extLst>
              <a:ext uri="{FF2B5EF4-FFF2-40B4-BE49-F238E27FC236}">
                <a16:creationId xmlns:a16="http://schemas.microsoft.com/office/drawing/2014/main" id="{AF9143AC-F275-4B8A-82F4-2F3CE0B8D3B3}"/>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solidFill>
                <a:schemeClr val="tx2"/>
              </a:solidFill>
            </a:endParaRPr>
          </a:p>
        </p:txBody>
      </p:sp>
      <p:sp>
        <p:nvSpPr>
          <p:cNvPr id="3" name="Datumsplatzhalter 2">
            <a:extLst>
              <a:ext uri="{FF2B5EF4-FFF2-40B4-BE49-F238E27FC236}">
                <a16:creationId xmlns:a16="http://schemas.microsoft.com/office/drawing/2014/main" id="{F5E05DB6-3A22-4ED8-A2DF-FC87903C2AD5}"/>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A3DFDD7-199D-4069-9EDC-AAFF40370A35}" type="datetimeFigureOut">
              <a:rPr lang="en-US" smtClean="0">
                <a:solidFill>
                  <a:schemeClr val="tx2"/>
                </a:solidFill>
              </a:rPr>
              <a:t>7/12/2024</a:t>
            </a:fld>
            <a:endParaRPr lang="en-US">
              <a:solidFill>
                <a:schemeClr val="tx2"/>
              </a:solidFill>
            </a:endParaRPr>
          </a:p>
        </p:txBody>
      </p:sp>
      <p:sp>
        <p:nvSpPr>
          <p:cNvPr id="4" name="Fußzeilenplatzhalter 3">
            <a:extLst>
              <a:ext uri="{FF2B5EF4-FFF2-40B4-BE49-F238E27FC236}">
                <a16:creationId xmlns:a16="http://schemas.microsoft.com/office/drawing/2014/main" id="{C55D274F-5773-4841-A866-E61D5BD5A878}"/>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solidFill>
                <a:schemeClr val="tx2"/>
              </a:solidFill>
            </a:endParaRPr>
          </a:p>
        </p:txBody>
      </p:sp>
      <p:sp>
        <p:nvSpPr>
          <p:cNvPr id="5" name="Foliennummernplatzhalter 4">
            <a:extLst>
              <a:ext uri="{FF2B5EF4-FFF2-40B4-BE49-F238E27FC236}">
                <a16:creationId xmlns:a16="http://schemas.microsoft.com/office/drawing/2014/main" id="{418C93F0-B384-45A7-AFC2-7820B56144BA}"/>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6A883EB1-95C9-453E-A2EB-84A31EA1A953}" type="slidenum">
              <a:rPr lang="en-US" smtClean="0">
                <a:solidFill>
                  <a:schemeClr val="tx2"/>
                </a:solidFill>
              </a:rPr>
              <a:t>‹Nr.›</a:t>
            </a:fld>
            <a:endParaRPr lang="en-US">
              <a:solidFill>
                <a:schemeClr val="tx2"/>
              </a:solidFill>
            </a:endParaRPr>
          </a:p>
        </p:txBody>
      </p:sp>
    </p:spTree>
    <p:extLst>
      <p:ext uri="{BB962C8B-B14F-4D97-AF65-F5344CB8AC3E}">
        <p14:creationId xmlns:p14="http://schemas.microsoft.com/office/powerpoint/2010/main" val="357328238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295611"/>
          </a:xfrm>
          <a:prstGeom prst="rect">
            <a:avLst/>
          </a:prstGeom>
        </p:spPr>
        <p:txBody>
          <a:bodyPr vert="horz" lIns="91440" tIns="45720" rIns="91440" bIns="45720" rtlCol="0"/>
          <a:lstStyle>
            <a:lvl1pPr algn="l" rtl="0">
              <a:defRPr sz="1200">
                <a:solidFill>
                  <a:schemeClr val="tx2"/>
                </a:solidFill>
              </a:defRPr>
            </a:lvl1pPr>
          </a:lstStyle>
          <a:p>
            <a:endParaRPr lang="de-DE" dirty="0"/>
          </a:p>
        </p:txBody>
      </p:sp>
      <p:sp>
        <p:nvSpPr>
          <p:cNvPr id="3" name="Datumsplatzhalter 2"/>
          <p:cNvSpPr>
            <a:spLocks noGrp="1"/>
          </p:cNvSpPr>
          <p:nvPr>
            <p:ph type="dt" idx="1"/>
          </p:nvPr>
        </p:nvSpPr>
        <p:spPr>
          <a:xfrm>
            <a:off x="3884613" y="0"/>
            <a:ext cx="2971800" cy="295611"/>
          </a:xfrm>
          <a:prstGeom prst="rect">
            <a:avLst/>
          </a:prstGeom>
        </p:spPr>
        <p:txBody>
          <a:bodyPr vert="horz" lIns="91440" tIns="45720" rIns="91440" bIns="45720" rtlCol="0"/>
          <a:lstStyle>
            <a:lvl1pPr algn="r" rtl="0">
              <a:defRPr sz="1200">
                <a:solidFill>
                  <a:schemeClr val="tx2"/>
                </a:solidFill>
              </a:defRPr>
            </a:lvl1pPr>
          </a:lstStyle>
          <a:p>
            <a:fld id="{B54ACF56-8AC0-413B-87D0-F58636EC0C94}" type="datetimeFigureOut">
              <a:rPr lang="de-DE" smtClean="0"/>
              <a:pPr/>
              <a:t>12.07.2024</a:t>
            </a:fld>
            <a:endParaRPr lang="de-DE" dirty="0"/>
          </a:p>
        </p:txBody>
      </p:sp>
      <p:sp>
        <p:nvSpPr>
          <p:cNvPr id="4" name="Folienbildplatzhalter 3"/>
          <p:cNvSpPr>
            <a:spLocks noGrp="1" noRot="1" noChangeAspect="1"/>
          </p:cNvSpPr>
          <p:nvPr>
            <p:ph type="sldImg" idx="2"/>
          </p:nvPr>
        </p:nvSpPr>
        <p:spPr>
          <a:xfrm>
            <a:off x="312821" y="800851"/>
            <a:ext cx="6232358" cy="3505702"/>
          </a:xfrm>
          <a:prstGeom prst="rect">
            <a:avLst/>
          </a:prstGeom>
          <a:noFill/>
          <a:ln w="12700">
            <a:solidFill>
              <a:schemeClr val="bg2"/>
            </a:solidFill>
          </a:ln>
        </p:spPr>
        <p:txBody>
          <a:bodyPr vert="horz" lIns="91440" tIns="45720" rIns="91440" bIns="45720" rtlCol="0" anchor="ctr"/>
          <a:lstStyle/>
          <a:p>
            <a:endParaRPr lang="en-US"/>
          </a:p>
        </p:txBody>
      </p:sp>
      <p:sp>
        <p:nvSpPr>
          <p:cNvPr id="5" name="Notizenplatzhalter 4"/>
          <p:cNvSpPr>
            <a:spLocks noGrp="1"/>
          </p:cNvSpPr>
          <p:nvPr>
            <p:ph type="body" sz="quarter" idx="3"/>
          </p:nvPr>
        </p:nvSpPr>
        <p:spPr>
          <a:xfrm>
            <a:off x="312821" y="4648616"/>
            <a:ext cx="6232358" cy="3857710"/>
          </a:xfrm>
          <a:prstGeom prst="rect">
            <a:avLst/>
          </a:prstGeom>
        </p:spPr>
        <p:txBody>
          <a:bodyPr vert="horz" lIns="0" tIns="0" rIns="0" bIns="0" rtlCol="0"/>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a:t>Fünfte Ebene</a:t>
            </a:r>
            <a:endParaRPr lang="de-DE" dirty="0"/>
          </a:p>
        </p:txBody>
      </p:sp>
      <p:sp>
        <p:nvSpPr>
          <p:cNvPr id="6" name="Fußzeilenplatzhalter 5"/>
          <p:cNvSpPr>
            <a:spLocks noGrp="1"/>
          </p:cNvSpPr>
          <p:nvPr>
            <p:ph type="ftr" sz="quarter" idx="4"/>
          </p:nvPr>
        </p:nvSpPr>
        <p:spPr>
          <a:xfrm>
            <a:off x="0" y="8848389"/>
            <a:ext cx="2971800" cy="295611"/>
          </a:xfrm>
          <a:prstGeom prst="rect">
            <a:avLst/>
          </a:prstGeom>
        </p:spPr>
        <p:txBody>
          <a:bodyPr vert="horz" lIns="91440" tIns="45720" rIns="91440" bIns="45720" rtlCol="0" anchor="b"/>
          <a:lstStyle>
            <a:lvl1pPr algn="l" rtl="0">
              <a:defRPr sz="1200">
                <a:solidFill>
                  <a:schemeClr val="tx2"/>
                </a:solidFill>
              </a:defRPr>
            </a:lvl1pPr>
          </a:lstStyle>
          <a:p>
            <a:endParaRPr lang="de-DE" dirty="0"/>
          </a:p>
        </p:txBody>
      </p:sp>
      <p:sp>
        <p:nvSpPr>
          <p:cNvPr id="7" name="Foliennummernplatzhalter 6"/>
          <p:cNvSpPr>
            <a:spLocks noGrp="1"/>
          </p:cNvSpPr>
          <p:nvPr>
            <p:ph type="sldNum" sz="quarter" idx="5"/>
          </p:nvPr>
        </p:nvSpPr>
        <p:spPr>
          <a:xfrm>
            <a:off x="3884613" y="8848389"/>
            <a:ext cx="2971800" cy="295611"/>
          </a:xfrm>
          <a:prstGeom prst="rect">
            <a:avLst/>
          </a:prstGeom>
        </p:spPr>
        <p:txBody>
          <a:bodyPr vert="horz" lIns="91440" tIns="45720" rIns="91440" bIns="45720" rtlCol="0" anchor="b"/>
          <a:lstStyle>
            <a:lvl1pPr algn="r" rtl="0">
              <a:defRPr sz="1200">
                <a:solidFill>
                  <a:schemeClr val="tx2"/>
                </a:solidFill>
              </a:defRPr>
            </a:lvl1pPr>
          </a:lstStyle>
          <a:p>
            <a:fld id="{7B6A1A71-1697-4AC4-91EE-DA2F6CEB7FF8}" type="slidenum">
              <a:rPr lang="de-DE" smtClean="0"/>
              <a:pPr/>
              <a:t>‹Nr.›</a:t>
            </a:fld>
            <a:endParaRPr lang="de-DE" dirty="0"/>
          </a:p>
        </p:txBody>
      </p:sp>
    </p:spTree>
    <p:extLst>
      <p:ext uri="{BB962C8B-B14F-4D97-AF65-F5344CB8AC3E}">
        <p14:creationId xmlns:p14="http://schemas.microsoft.com/office/powerpoint/2010/main" val="374017565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2"/>
        </a:solidFill>
        <a:latin typeface="+mn-lt"/>
        <a:ea typeface="+mn-ea"/>
        <a:cs typeface="+mn-cs"/>
      </a:defRPr>
    </a:lvl1pPr>
    <a:lvl2pPr marL="180000" indent="-180000" algn="l" defTabSz="914400" rtl="0" eaLnBrk="1" latinLnBrk="0" hangingPunct="1">
      <a:buClr>
        <a:schemeClr val="accent3"/>
      </a:buClr>
      <a:buFont typeface="Wingdings" panose="05000000000000000000" pitchFamily="2" charset="2"/>
      <a:buChar char="§"/>
      <a:defRPr sz="1200" kern="1200">
        <a:solidFill>
          <a:schemeClr val="tx2"/>
        </a:solidFill>
        <a:latin typeface="+mn-lt"/>
        <a:ea typeface="+mn-ea"/>
        <a:cs typeface="+mn-cs"/>
      </a:defRPr>
    </a:lvl2pPr>
    <a:lvl3pPr marL="360000" indent="-180000" algn="l" defTabSz="914400" rtl="0" eaLnBrk="1" latinLnBrk="0" hangingPunct="1">
      <a:buClr>
        <a:schemeClr val="accent3"/>
      </a:buClr>
      <a:buFont typeface="Wingdings" panose="05000000000000000000" pitchFamily="2" charset="2"/>
      <a:buChar char="§"/>
      <a:defRPr sz="1200" kern="1200">
        <a:solidFill>
          <a:schemeClr val="tx2"/>
        </a:solidFill>
        <a:latin typeface="+mn-lt"/>
        <a:ea typeface="+mn-ea"/>
        <a:cs typeface="+mn-cs"/>
      </a:defRPr>
    </a:lvl3pPr>
    <a:lvl4pPr marL="540000" indent="-180000" algn="l" defTabSz="914400" rtl="0" eaLnBrk="1" latinLnBrk="0" hangingPunct="1">
      <a:buClr>
        <a:schemeClr val="accent3"/>
      </a:buClr>
      <a:buFont typeface="Wingdings" panose="05000000000000000000" pitchFamily="2" charset="2"/>
      <a:buChar char="§"/>
      <a:defRPr sz="1200" kern="1200">
        <a:solidFill>
          <a:schemeClr val="tx2"/>
        </a:solidFill>
        <a:latin typeface="+mn-lt"/>
        <a:ea typeface="+mn-ea"/>
        <a:cs typeface="+mn-cs"/>
      </a:defRPr>
    </a:lvl4pPr>
    <a:lvl5pPr marL="720000" indent="-180000" algn="l" defTabSz="914400" rtl="0" eaLnBrk="1" latinLnBrk="0" hangingPunct="1">
      <a:buClr>
        <a:schemeClr val="accent3"/>
      </a:buClr>
      <a:buFont typeface="Wingdings" panose="05000000000000000000" pitchFamily="2" charset="2"/>
      <a:buChar char="§"/>
      <a:defRPr sz="1200" kern="1200">
        <a:solidFill>
          <a:schemeClr val="tx2"/>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1.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1.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1.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1.emf"/></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1.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1.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1.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1.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2.xml"/><Relationship Id="rId4" Type="http://schemas.openxmlformats.org/officeDocument/2006/relationships/image" Target="../media/image1.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3.xml"/><Relationship Id="rId4" Type="http://schemas.openxmlformats.org/officeDocument/2006/relationships/image" Target="../media/image1.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24.xml"/><Relationship Id="rId4" Type="http://schemas.openxmlformats.org/officeDocument/2006/relationships/image" Target="../media/image1.emf"/></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25.xml"/><Relationship Id="rId4" Type="http://schemas.openxmlformats.org/officeDocument/2006/relationships/image" Target="../media/image1.emf"/></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1.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1.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elfolie">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43FD6202-36F7-4094-8992-4EB845450B57}"/>
              </a:ext>
            </a:extLst>
          </p:cNvPr>
          <p:cNvGraphicFramePr>
            <a:graphicFrameLocks noChangeAspect="1"/>
          </p:cNvGraphicFramePr>
          <p:nvPr userDrawn="1">
            <p:custDataLst>
              <p:tags r:id="rId1"/>
            </p:custDataLst>
            <p:extLst>
              <p:ext uri="{D42A27DB-BD31-4B8C-83A1-F6EECF244321}">
                <p14:modId xmlns:p14="http://schemas.microsoft.com/office/powerpoint/2010/main" val="29986637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6" name="Objekt 5" hidden="1">
                        <a:extLst>
                          <a:ext uri="{FF2B5EF4-FFF2-40B4-BE49-F238E27FC236}">
                            <a16:creationId xmlns:a16="http://schemas.microsoft.com/office/drawing/2014/main" id="{43FD6202-36F7-4094-8992-4EB845450B5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Rechteck 7">
            <a:extLst>
              <a:ext uri="{FF2B5EF4-FFF2-40B4-BE49-F238E27FC236}">
                <a16:creationId xmlns:a16="http://schemas.microsoft.com/office/drawing/2014/main" id="{C981FB6B-D507-4213-824B-18B17512BA73}"/>
              </a:ext>
            </a:extLst>
          </p:cNvPr>
          <p:cNvSpPr/>
          <p:nvPr userDrawn="1"/>
        </p:nvSpPr>
        <p:spPr>
          <a:xfrm>
            <a:off x="200437" y="1831107"/>
            <a:ext cx="6677018" cy="481518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44000" rIns="180000" bIns="144000" rtlCol="0" anchor="t"/>
          <a:lstStyle/>
          <a:p>
            <a:pPr algn="l" rtl="0"/>
            <a:endParaRPr lang="de-DE" sz="1600" dirty="0">
              <a:solidFill>
                <a:schemeClr val="bg1"/>
              </a:solidFill>
            </a:endParaRPr>
          </a:p>
        </p:txBody>
      </p:sp>
      <p:sp>
        <p:nvSpPr>
          <p:cNvPr id="22" name="Freihandform: Form 21">
            <a:extLst>
              <a:ext uri="{FF2B5EF4-FFF2-40B4-BE49-F238E27FC236}">
                <a16:creationId xmlns:a16="http://schemas.microsoft.com/office/drawing/2014/main" id="{DEF94761-1C3A-4242-B358-C791D08D47DE}"/>
              </a:ext>
            </a:extLst>
          </p:cNvPr>
          <p:cNvSpPr/>
          <p:nvPr userDrawn="1"/>
        </p:nvSpPr>
        <p:spPr>
          <a:xfrm>
            <a:off x="10296483" y="461303"/>
            <a:ext cx="1418877" cy="908488"/>
          </a:xfrm>
          <a:custGeom>
            <a:avLst/>
            <a:gdLst>
              <a:gd name="connsiteX0" fmla="*/ 1335832 w 1418877"/>
              <a:gd name="connsiteY0" fmla="*/ 1433 h 908488"/>
              <a:gd name="connsiteX1" fmla="*/ 1335782 w 1418877"/>
              <a:gd name="connsiteY1" fmla="*/ 1508 h 908488"/>
              <a:gd name="connsiteX2" fmla="*/ 1414800 w 1418877"/>
              <a:gd name="connsiteY2" fmla="*/ 91063 h 908488"/>
              <a:gd name="connsiteX3" fmla="*/ 1241397 w 1418877"/>
              <a:gd name="connsiteY3" fmla="*/ 753864 h 908488"/>
              <a:gd name="connsiteX4" fmla="*/ 1090720 w 1418877"/>
              <a:gd name="connsiteY4" fmla="*/ 871176 h 908488"/>
              <a:gd name="connsiteX5" fmla="*/ 70625 w 1418877"/>
              <a:gd name="connsiteY5" fmla="*/ 908395 h 908488"/>
              <a:gd name="connsiteX6" fmla="*/ 6150 w 1418877"/>
              <a:gd name="connsiteY6" fmla="*/ 818439 h 908488"/>
              <a:gd name="connsiteX7" fmla="*/ 202304 w 1418877"/>
              <a:gd name="connsiteY7" fmla="*/ 301809 h 908488"/>
              <a:gd name="connsiteX8" fmla="*/ 370977 w 1418877"/>
              <a:gd name="connsiteY8" fmla="*/ 162171 h 908488"/>
              <a:gd name="connsiteX9" fmla="*/ 1335832 w 1418877"/>
              <a:gd name="connsiteY9" fmla="*/ 1433 h 9084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18877" h="908488">
                <a:moveTo>
                  <a:pt x="1335832" y="1433"/>
                </a:moveTo>
                <a:lnTo>
                  <a:pt x="1335782" y="1508"/>
                </a:lnTo>
                <a:cubicBezTo>
                  <a:pt x="1397054" y="-8004"/>
                  <a:pt x="1431144" y="28139"/>
                  <a:pt x="1414800" y="91063"/>
                </a:cubicBezTo>
                <a:cubicBezTo>
                  <a:pt x="1399082" y="151934"/>
                  <a:pt x="1241397" y="753864"/>
                  <a:pt x="1241397" y="753864"/>
                </a:cubicBezTo>
                <a:cubicBezTo>
                  <a:pt x="1225879" y="813283"/>
                  <a:pt x="1181677" y="867096"/>
                  <a:pt x="1090720" y="871176"/>
                </a:cubicBezTo>
                <a:cubicBezTo>
                  <a:pt x="1090720" y="871176"/>
                  <a:pt x="126090" y="906117"/>
                  <a:pt x="70625" y="908395"/>
                </a:cubicBezTo>
                <a:cubicBezTo>
                  <a:pt x="12782" y="910697"/>
                  <a:pt x="-12747" y="870000"/>
                  <a:pt x="6150" y="818439"/>
                </a:cubicBezTo>
                <a:cubicBezTo>
                  <a:pt x="25047" y="766879"/>
                  <a:pt x="162883" y="380376"/>
                  <a:pt x="202304" y="301809"/>
                </a:cubicBezTo>
                <a:cubicBezTo>
                  <a:pt x="241726" y="223242"/>
                  <a:pt x="292810" y="183145"/>
                  <a:pt x="370977" y="162171"/>
                </a:cubicBezTo>
                <a:cubicBezTo>
                  <a:pt x="435728" y="144750"/>
                  <a:pt x="1273485" y="11119"/>
                  <a:pt x="1335832" y="1433"/>
                </a:cubicBezTo>
                <a:close/>
              </a:path>
            </a:pathLst>
          </a:custGeom>
          <a:solidFill>
            <a:schemeClr val="tx1"/>
          </a:solidFill>
          <a:ln w="19050" cap="flat">
            <a:solidFill>
              <a:schemeClr val="tx1"/>
            </a:solidFill>
            <a:prstDash val="solid"/>
            <a:miter/>
          </a:ln>
        </p:spPr>
        <p:txBody>
          <a:bodyPr wrap="square" rtlCol="0" anchor="ctr">
            <a:noAutofit/>
          </a:bodyPr>
          <a:lstStyle/>
          <a:p>
            <a:endParaRPr lang="de-DE"/>
          </a:p>
        </p:txBody>
      </p:sp>
      <p:sp>
        <p:nvSpPr>
          <p:cNvPr id="24" name="Freihandform: Form 23">
            <a:extLst>
              <a:ext uri="{FF2B5EF4-FFF2-40B4-BE49-F238E27FC236}">
                <a16:creationId xmlns:a16="http://schemas.microsoft.com/office/drawing/2014/main" id="{6917C283-807D-408C-89DE-7E9157D6D85F}"/>
              </a:ext>
            </a:extLst>
          </p:cNvPr>
          <p:cNvSpPr/>
          <p:nvPr userDrawn="1"/>
        </p:nvSpPr>
        <p:spPr>
          <a:xfrm>
            <a:off x="10442163" y="762329"/>
            <a:ext cx="977020" cy="497591"/>
          </a:xfrm>
          <a:custGeom>
            <a:avLst/>
            <a:gdLst>
              <a:gd name="connsiteX0" fmla="*/ 514353 w 977020"/>
              <a:gd name="connsiteY0" fmla="*/ 411433 h 497591"/>
              <a:gd name="connsiteX1" fmla="*/ 495255 w 977020"/>
              <a:gd name="connsiteY1" fmla="*/ 414837 h 497591"/>
              <a:gd name="connsiteX2" fmla="*/ 482040 w 977020"/>
              <a:gd name="connsiteY2" fmla="*/ 422346 h 497591"/>
              <a:gd name="connsiteX3" fmla="*/ 477034 w 977020"/>
              <a:gd name="connsiteY3" fmla="*/ 434861 h 497591"/>
              <a:gd name="connsiteX4" fmla="*/ 483291 w 977020"/>
              <a:gd name="connsiteY4" fmla="*/ 451305 h 497591"/>
              <a:gd name="connsiteX5" fmla="*/ 500587 w 977020"/>
              <a:gd name="connsiteY5" fmla="*/ 457162 h 497591"/>
              <a:gd name="connsiteX6" fmla="*/ 524014 w 977020"/>
              <a:gd name="connsiteY6" fmla="*/ 450554 h 497591"/>
              <a:gd name="connsiteX7" fmla="*/ 536879 w 977020"/>
              <a:gd name="connsiteY7" fmla="*/ 436363 h 497591"/>
              <a:gd name="connsiteX8" fmla="*/ 536879 w 977020"/>
              <a:gd name="connsiteY8" fmla="*/ 411809 h 497591"/>
              <a:gd name="connsiteX9" fmla="*/ 514353 w 977020"/>
              <a:gd name="connsiteY9" fmla="*/ 411433 h 497591"/>
              <a:gd name="connsiteX10" fmla="*/ 823064 w 977020"/>
              <a:gd name="connsiteY10" fmla="*/ 305384 h 497591"/>
              <a:gd name="connsiteX11" fmla="*/ 971288 w 977020"/>
              <a:gd name="connsiteY11" fmla="*/ 305384 h 497591"/>
              <a:gd name="connsiteX12" fmla="*/ 971288 w 977020"/>
              <a:gd name="connsiteY12" fmla="*/ 347033 h 497591"/>
              <a:gd name="connsiteX13" fmla="*/ 897552 w 977020"/>
              <a:gd name="connsiteY13" fmla="*/ 438215 h 497591"/>
              <a:gd name="connsiteX14" fmla="*/ 878655 w 977020"/>
              <a:gd name="connsiteY14" fmla="*/ 452957 h 497591"/>
              <a:gd name="connsiteX15" fmla="*/ 971263 w 977020"/>
              <a:gd name="connsiteY15" fmla="*/ 452957 h 497591"/>
              <a:gd name="connsiteX16" fmla="*/ 971263 w 977020"/>
              <a:gd name="connsiteY16" fmla="*/ 494556 h 497591"/>
              <a:gd name="connsiteX17" fmla="*/ 823064 w 977020"/>
              <a:gd name="connsiteY17" fmla="*/ 494556 h 497591"/>
              <a:gd name="connsiteX18" fmla="*/ 823064 w 977020"/>
              <a:gd name="connsiteY18" fmla="*/ 452957 h 497591"/>
              <a:gd name="connsiteX19" fmla="*/ 897552 w 977020"/>
              <a:gd name="connsiteY19" fmla="*/ 363352 h 497591"/>
              <a:gd name="connsiteX20" fmla="*/ 916824 w 977020"/>
              <a:gd name="connsiteY20" fmla="*/ 347083 h 497591"/>
              <a:gd name="connsiteX21" fmla="*/ 823064 w 977020"/>
              <a:gd name="connsiteY21" fmla="*/ 347083 h 497591"/>
              <a:gd name="connsiteX22" fmla="*/ 517607 w 977020"/>
              <a:gd name="connsiteY22" fmla="*/ 301705 h 497591"/>
              <a:gd name="connsiteX23" fmla="*/ 550495 w 977020"/>
              <a:gd name="connsiteY23" fmla="*/ 306435 h 497591"/>
              <a:gd name="connsiteX24" fmla="*/ 582457 w 977020"/>
              <a:gd name="connsiteY24" fmla="*/ 340650 h 497591"/>
              <a:gd name="connsiteX25" fmla="*/ 585686 w 977020"/>
              <a:gd name="connsiteY25" fmla="*/ 367882 h 497591"/>
              <a:gd name="connsiteX26" fmla="*/ 584535 w 977020"/>
              <a:gd name="connsiteY26" fmla="*/ 401346 h 497591"/>
              <a:gd name="connsiteX27" fmla="*/ 583183 w 977020"/>
              <a:gd name="connsiteY27" fmla="*/ 434435 h 497591"/>
              <a:gd name="connsiteX28" fmla="*/ 584109 w 977020"/>
              <a:gd name="connsiteY28" fmla="*/ 465997 h 497591"/>
              <a:gd name="connsiteX29" fmla="*/ 589791 w 977020"/>
              <a:gd name="connsiteY29" fmla="*/ 494931 h 497591"/>
              <a:gd name="connsiteX30" fmla="*/ 549744 w 977020"/>
              <a:gd name="connsiteY30" fmla="*/ 494931 h 497591"/>
              <a:gd name="connsiteX31" fmla="*/ 541785 w 977020"/>
              <a:gd name="connsiteY31" fmla="*/ 468851 h 497591"/>
              <a:gd name="connsiteX32" fmla="*/ 539908 w 977020"/>
              <a:gd name="connsiteY32" fmla="*/ 468851 h 497591"/>
              <a:gd name="connsiteX33" fmla="*/ 518933 w 977020"/>
              <a:gd name="connsiteY33" fmla="*/ 489074 h 497591"/>
              <a:gd name="connsiteX34" fmla="*/ 484317 w 977020"/>
              <a:gd name="connsiteY34" fmla="*/ 497584 h 497591"/>
              <a:gd name="connsiteX35" fmla="*/ 460490 w 977020"/>
              <a:gd name="connsiteY35" fmla="*/ 493605 h 497591"/>
              <a:gd name="connsiteX36" fmla="*/ 430505 w 977020"/>
              <a:gd name="connsiteY36" fmla="*/ 464871 h 497591"/>
              <a:gd name="connsiteX37" fmla="*/ 426350 w 977020"/>
              <a:gd name="connsiteY37" fmla="*/ 442345 h 497591"/>
              <a:gd name="connsiteX38" fmla="*/ 434084 w 977020"/>
              <a:gd name="connsiteY38" fmla="*/ 413035 h 497591"/>
              <a:gd name="connsiteX39" fmla="*/ 456410 w 977020"/>
              <a:gd name="connsiteY39" fmla="*/ 393763 h 497591"/>
              <a:gd name="connsiteX40" fmla="*/ 491201 w 977020"/>
              <a:gd name="connsiteY40" fmla="*/ 383551 h 497591"/>
              <a:gd name="connsiteX41" fmla="*/ 536378 w 977020"/>
              <a:gd name="connsiteY41" fmla="*/ 381849 h 497591"/>
              <a:gd name="connsiteX42" fmla="*/ 533350 w 977020"/>
              <a:gd name="connsiteY42" fmla="*/ 351413 h 497591"/>
              <a:gd name="connsiteX43" fmla="*/ 533475 w 977020"/>
              <a:gd name="connsiteY43" fmla="*/ 351438 h 497591"/>
              <a:gd name="connsiteX44" fmla="*/ 508145 w 977020"/>
              <a:gd name="connsiteY44" fmla="*/ 342177 h 497591"/>
              <a:gd name="connsiteX45" fmla="*/ 476959 w 977020"/>
              <a:gd name="connsiteY45" fmla="*/ 345206 h 497591"/>
              <a:gd name="connsiteX46" fmla="*/ 449902 w 977020"/>
              <a:gd name="connsiteY46" fmla="*/ 353140 h 497591"/>
              <a:gd name="connsiteX47" fmla="*/ 438189 w 977020"/>
              <a:gd name="connsiteY47" fmla="*/ 316472 h 497591"/>
              <a:gd name="connsiteX48" fmla="*/ 474105 w 977020"/>
              <a:gd name="connsiteY48" fmla="*/ 305684 h 497591"/>
              <a:gd name="connsiteX49" fmla="*/ 517607 w 977020"/>
              <a:gd name="connsiteY49" fmla="*/ 301705 h 497591"/>
              <a:gd name="connsiteX50" fmla="*/ 339448 w 977020"/>
              <a:gd name="connsiteY50" fmla="*/ 300253 h 497591"/>
              <a:gd name="connsiteX51" fmla="*/ 364477 w 977020"/>
              <a:gd name="connsiteY51" fmla="*/ 304032 h 497591"/>
              <a:gd name="connsiteX52" fmla="*/ 383024 w 977020"/>
              <a:gd name="connsiteY52" fmla="*/ 316547 h 497591"/>
              <a:gd name="connsiteX53" fmla="*/ 394362 w 977020"/>
              <a:gd name="connsiteY53" fmla="*/ 340175 h 497591"/>
              <a:gd name="connsiteX54" fmla="*/ 397966 w 977020"/>
              <a:gd name="connsiteY54" fmla="*/ 377068 h 497591"/>
              <a:gd name="connsiteX55" fmla="*/ 397966 w 977020"/>
              <a:gd name="connsiteY55" fmla="*/ 494706 h 497591"/>
              <a:gd name="connsiteX56" fmla="*/ 348909 w 977020"/>
              <a:gd name="connsiteY56" fmla="*/ 494706 h 497591"/>
              <a:gd name="connsiteX57" fmla="*/ 348909 w 977020"/>
              <a:gd name="connsiteY57" fmla="*/ 387080 h 497591"/>
              <a:gd name="connsiteX58" fmla="*/ 342276 w 977020"/>
              <a:gd name="connsiteY58" fmla="*/ 353816 h 497591"/>
              <a:gd name="connsiteX59" fmla="*/ 319750 w 977020"/>
              <a:gd name="connsiteY59" fmla="*/ 343604 h 497591"/>
              <a:gd name="connsiteX60" fmla="*/ 296097 w 977020"/>
              <a:gd name="connsiteY60" fmla="*/ 351738 h 497591"/>
              <a:gd name="connsiteX61" fmla="*/ 282306 w 977020"/>
              <a:gd name="connsiteY61" fmla="*/ 371962 h 497591"/>
              <a:gd name="connsiteX62" fmla="*/ 282306 w 977020"/>
              <a:gd name="connsiteY62" fmla="*/ 494481 h 497591"/>
              <a:gd name="connsiteX63" fmla="*/ 233198 w 977020"/>
              <a:gd name="connsiteY63" fmla="*/ 494481 h 497591"/>
              <a:gd name="connsiteX64" fmla="*/ 233198 w 977020"/>
              <a:gd name="connsiteY64" fmla="*/ 305484 h 497591"/>
              <a:gd name="connsiteX65" fmla="*/ 272144 w 977020"/>
              <a:gd name="connsiteY65" fmla="*/ 305484 h 497591"/>
              <a:gd name="connsiteX66" fmla="*/ 277826 w 977020"/>
              <a:gd name="connsiteY66" fmla="*/ 330514 h 497591"/>
              <a:gd name="connsiteX67" fmla="*/ 279327 w 977020"/>
              <a:gd name="connsiteY67" fmla="*/ 330514 h 497591"/>
              <a:gd name="connsiteX68" fmla="*/ 302404 w 977020"/>
              <a:gd name="connsiteY68" fmla="*/ 309339 h 497591"/>
              <a:gd name="connsiteX69" fmla="*/ 339448 w 977020"/>
              <a:gd name="connsiteY69" fmla="*/ 300253 h 497591"/>
              <a:gd name="connsiteX70" fmla="*/ 733109 w 977020"/>
              <a:gd name="connsiteY70" fmla="*/ 300228 h 497591"/>
              <a:gd name="connsiteX71" fmla="*/ 758138 w 977020"/>
              <a:gd name="connsiteY71" fmla="*/ 304007 h 497591"/>
              <a:gd name="connsiteX72" fmla="*/ 776685 w 977020"/>
              <a:gd name="connsiteY72" fmla="*/ 316522 h 497591"/>
              <a:gd name="connsiteX73" fmla="*/ 788023 w 977020"/>
              <a:gd name="connsiteY73" fmla="*/ 340150 h 497591"/>
              <a:gd name="connsiteX74" fmla="*/ 791678 w 977020"/>
              <a:gd name="connsiteY74" fmla="*/ 377068 h 497591"/>
              <a:gd name="connsiteX75" fmla="*/ 791678 w 977020"/>
              <a:gd name="connsiteY75" fmla="*/ 494706 h 497591"/>
              <a:gd name="connsiteX76" fmla="*/ 742520 w 977020"/>
              <a:gd name="connsiteY76" fmla="*/ 494706 h 497591"/>
              <a:gd name="connsiteX77" fmla="*/ 742520 w 977020"/>
              <a:gd name="connsiteY77" fmla="*/ 387080 h 497591"/>
              <a:gd name="connsiteX78" fmla="*/ 735912 w 977020"/>
              <a:gd name="connsiteY78" fmla="*/ 353816 h 497591"/>
              <a:gd name="connsiteX79" fmla="*/ 713386 w 977020"/>
              <a:gd name="connsiteY79" fmla="*/ 343604 h 497591"/>
              <a:gd name="connsiteX80" fmla="*/ 689758 w 977020"/>
              <a:gd name="connsiteY80" fmla="*/ 351738 h 497591"/>
              <a:gd name="connsiteX81" fmla="*/ 675942 w 977020"/>
              <a:gd name="connsiteY81" fmla="*/ 371962 h 497591"/>
              <a:gd name="connsiteX82" fmla="*/ 675942 w 977020"/>
              <a:gd name="connsiteY82" fmla="*/ 494481 h 497591"/>
              <a:gd name="connsiteX83" fmla="*/ 626810 w 977020"/>
              <a:gd name="connsiteY83" fmla="*/ 494481 h 497591"/>
              <a:gd name="connsiteX84" fmla="*/ 626734 w 977020"/>
              <a:gd name="connsiteY84" fmla="*/ 305459 h 497591"/>
              <a:gd name="connsiteX85" fmla="*/ 665780 w 977020"/>
              <a:gd name="connsiteY85" fmla="*/ 305459 h 497591"/>
              <a:gd name="connsiteX86" fmla="*/ 671462 w 977020"/>
              <a:gd name="connsiteY86" fmla="*/ 330489 h 497591"/>
              <a:gd name="connsiteX87" fmla="*/ 672989 w 977020"/>
              <a:gd name="connsiteY87" fmla="*/ 330489 h 497591"/>
              <a:gd name="connsiteX88" fmla="*/ 696041 w 977020"/>
              <a:gd name="connsiteY88" fmla="*/ 309314 h 497591"/>
              <a:gd name="connsiteX89" fmla="*/ 733109 w 977020"/>
              <a:gd name="connsiteY89" fmla="*/ 300228 h 497591"/>
              <a:gd name="connsiteX90" fmla="*/ 730506 w 977020"/>
              <a:gd name="connsiteY90" fmla="*/ 115762 h 497591"/>
              <a:gd name="connsiteX91" fmla="*/ 699295 w 977020"/>
              <a:gd name="connsiteY91" fmla="*/ 129753 h 497591"/>
              <a:gd name="connsiteX92" fmla="*/ 688907 w 977020"/>
              <a:gd name="connsiteY92" fmla="*/ 177785 h 497591"/>
              <a:gd name="connsiteX93" fmla="*/ 697417 w 977020"/>
              <a:gd name="connsiteY93" fmla="*/ 216730 h 497591"/>
              <a:gd name="connsiteX94" fmla="*/ 724449 w 977020"/>
              <a:gd name="connsiteY94" fmla="*/ 231472 h 497591"/>
              <a:gd name="connsiteX95" fmla="*/ 747125 w 977020"/>
              <a:gd name="connsiteY95" fmla="*/ 224464 h 497591"/>
              <a:gd name="connsiteX96" fmla="*/ 747125 w 977020"/>
              <a:gd name="connsiteY96" fmla="*/ 224389 h 497591"/>
              <a:gd name="connsiteX97" fmla="*/ 758864 w 977020"/>
              <a:gd name="connsiteY97" fmla="*/ 204166 h 497591"/>
              <a:gd name="connsiteX98" fmla="*/ 758864 w 977020"/>
              <a:gd name="connsiteY98" fmla="*/ 124072 h 497591"/>
              <a:gd name="connsiteX99" fmla="*/ 747125 w 977020"/>
              <a:gd name="connsiteY99" fmla="*/ 117839 h 497591"/>
              <a:gd name="connsiteX100" fmla="*/ 730506 w 977020"/>
              <a:gd name="connsiteY100" fmla="*/ 115762 h 497591"/>
              <a:gd name="connsiteX101" fmla="*/ 327108 w 977020"/>
              <a:gd name="connsiteY101" fmla="*/ 114986 h 497591"/>
              <a:gd name="connsiteX102" fmla="*/ 298750 w 977020"/>
              <a:gd name="connsiteY102" fmla="*/ 128602 h 497591"/>
              <a:gd name="connsiteX103" fmla="*/ 288538 w 977020"/>
              <a:gd name="connsiteY103" fmla="*/ 173204 h 497591"/>
              <a:gd name="connsiteX104" fmla="*/ 290816 w 977020"/>
              <a:gd name="connsiteY104" fmla="*/ 196281 h 497591"/>
              <a:gd name="connsiteX105" fmla="*/ 297599 w 977020"/>
              <a:gd name="connsiteY105" fmla="*/ 214803 h 497591"/>
              <a:gd name="connsiteX106" fmla="*/ 309513 w 977020"/>
              <a:gd name="connsiteY106" fmla="*/ 227092 h 497591"/>
              <a:gd name="connsiteX107" fmla="*/ 327033 w 977020"/>
              <a:gd name="connsiteY107" fmla="*/ 231447 h 497591"/>
              <a:gd name="connsiteX108" fmla="*/ 355767 w 977020"/>
              <a:gd name="connsiteY108" fmla="*/ 217456 h 497591"/>
              <a:gd name="connsiteX109" fmla="*/ 355842 w 977020"/>
              <a:gd name="connsiteY109" fmla="*/ 217456 h 497591"/>
              <a:gd name="connsiteX110" fmla="*/ 365303 w 977020"/>
              <a:gd name="connsiteY110" fmla="*/ 173204 h 497591"/>
              <a:gd name="connsiteX111" fmla="*/ 356593 w 977020"/>
              <a:gd name="connsiteY111" fmla="*/ 131055 h 497591"/>
              <a:gd name="connsiteX112" fmla="*/ 327108 w 977020"/>
              <a:gd name="connsiteY112" fmla="*/ 114986 h 497591"/>
              <a:gd name="connsiteX113" fmla="*/ 906262 w 977020"/>
              <a:gd name="connsiteY113" fmla="*/ 73413 h 497591"/>
              <a:gd name="connsiteX114" fmla="*/ 945207 w 977020"/>
              <a:gd name="connsiteY114" fmla="*/ 77968 h 497591"/>
              <a:gd name="connsiteX115" fmla="*/ 972439 w 977020"/>
              <a:gd name="connsiteY115" fmla="*/ 88155 h 497591"/>
              <a:gd name="connsiteX116" fmla="*/ 961477 w 977020"/>
              <a:gd name="connsiteY116" fmla="*/ 123721 h 497591"/>
              <a:gd name="connsiteX117" fmla="*/ 939551 w 977020"/>
              <a:gd name="connsiteY117" fmla="*/ 116538 h 497591"/>
              <a:gd name="connsiteX118" fmla="*/ 912694 w 977020"/>
              <a:gd name="connsiteY118" fmla="*/ 112734 h 497591"/>
              <a:gd name="connsiteX119" fmla="*/ 896250 w 977020"/>
              <a:gd name="connsiteY119" fmla="*/ 116989 h 497591"/>
              <a:gd name="connsiteX120" fmla="*/ 890833 w 977020"/>
              <a:gd name="connsiteY120" fmla="*/ 129603 h 497591"/>
              <a:gd name="connsiteX121" fmla="*/ 890819 w 977020"/>
              <a:gd name="connsiteY121" fmla="*/ 129578 h 497591"/>
              <a:gd name="connsiteX122" fmla="*/ 890769 w 977020"/>
              <a:gd name="connsiteY122" fmla="*/ 129753 h 497591"/>
              <a:gd name="connsiteX123" fmla="*/ 890833 w 977020"/>
              <a:gd name="connsiteY123" fmla="*/ 129603 h 497591"/>
              <a:gd name="connsiteX124" fmla="*/ 897226 w 977020"/>
              <a:gd name="connsiteY124" fmla="*/ 140541 h 497591"/>
              <a:gd name="connsiteX125" fmla="*/ 913120 w 977020"/>
              <a:gd name="connsiteY125" fmla="*/ 148300 h 497591"/>
              <a:gd name="connsiteX126" fmla="*/ 933919 w 977020"/>
              <a:gd name="connsiteY126" fmla="*/ 156059 h 497591"/>
              <a:gd name="connsiteX127" fmla="*/ 954719 w 977020"/>
              <a:gd name="connsiteY127" fmla="*/ 166822 h 497591"/>
              <a:gd name="connsiteX128" fmla="*/ 970612 w 977020"/>
              <a:gd name="connsiteY128" fmla="*/ 184042 h 497591"/>
              <a:gd name="connsiteX129" fmla="*/ 977020 w 977020"/>
              <a:gd name="connsiteY129" fmla="*/ 211249 h 497591"/>
              <a:gd name="connsiteX130" fmla="*/ 958698 w 977020"/>
              <a:gd name="connsiteY130" fmla="*/ 256301 h 497591"/>
              <a:gd name="connsiteX131" fmla="*/ 903634 w 977020"/>
              <a:gd name="connsiteY131" fmla="*/ 272771 h 497591"/>
              <a:gd name="connsiteX132" fmla="*/ 866090 w 977020"/>
              <a:gd name="connsiteY132" fmla="*/ 267765 h 497591"/>
              <a:gd name="connsiteX133" fmla="*/ 837557 w 977020"/>
              <a:gd name="connsiteY133" fmla="*/ 255851 h 497591"/>
              <a:gd name="connsiteX134" fmla="*/ 851122 w 977020"/>
              <a:gd name="connsiteY134" fmla="*/ 219383 h 497591"/>
              <a:gd name="connsiteX135" fmla="*/ 874174 w 977020"/>
              <a:gd name="connsiteY135" fmla="*/ 229020 h 497591"/>
              <a:gd name="connsiteX136" fmla="*/ 903684 w 977020"/>
              <a:gd name="connsiteY136" fmla="*/ 233725 h 497591"/>
              <a:gd name="connsiteX137" fmla="*/ 921204 w 977020"/>
              <a:gd name="connsiteY137" fmla="*/ 229570 h 497591"/>
              <a:gd name="connsiteX138" fmla="*/ 927837 w 977020"/>
              <a:gd name="connsiteY138" fmla="*/ 215604 h 497591"/>
              <a:gd name="connsiteX139" fmla="*/ 921405 w 977020"/>
              <a:gd name="connsiteY139" fmla="*/ 203490 h 497591"/>
              <a:gd name="connsiteX140" fmla="*/ 905511 w 977020"/>
              <a:gd name="connsiteY140" fmla="*/ 195180 h 497591"/>
              <a:gd name="connsiteX141" fmla="*/ 884711 w 977020"/>
              <a:gd name="connsiteY141" fmla="*/ 187421 h 497591"/>
              <a:gd name="connsiteX142" fmla="*/ 863937 w 977020"/>
              <a:gd name="connsiteY142" fmla="*/ 176458 h 497591"/>
              <a:gd name="connsiteX143" fmla="*/ 848044 w 977020"/>
              <a:gd name="connsiteY143" fmla="*/ 158687 h 497591"/>
              <a:gd name="connsiteX144" fmla="*/ 841611 w 977020"/>
              <a:gd name="connsiteY144" fmla="*/ 130880 h 497591"/>
              <a:gd name="connsiteX145" fmla="*/ 858256 w 977020"/>
              <a:gd name="connsiteY145" fmla="*/ 88155 h 497591"/>
              <a:gd name="connsiteX146" fmla="*/ 906262 w 977020"/>
              <a:gd name="connsiteY146" fmla="*/ 73413 h 497591"/>
              <a:gd name="connsiteX147" fmla="*/ 548993 w 977020"/>
              <a:gd name="connsiteY147" fmla="*/ 73413 h 497591"/>
              <a:gd name="connsiteX148" fmla="*/ 574023 w 977020"/>
              <a:gd name="connsiteY148" fmla="*/ 77192 h 497591"/>
              <a:gd name="connsiteX149" fmla="*/ 592544 w 977020"/>
              <a:gd name="connsiteY149" fmla="*/ 89706 h 497591"/>
              <a:gd name="connsiteX150" fmla="*/ 603883 w 977020"/>
              <a:gd name="connsiteY150" fmla="*/ 113334 h 497591"/>
              <a:gd name="connsiteX151" fmla="*/ 607662 w 977020"/>
              <a:gd name="connsiteY151" fmla="*/ 150202 h 497591"/>
              <a:gd name="connsiteX152" fmla="*/ 607537 w 977020"/>
              <a:gd name="connsiteY152" fmla="*/ 267665 h 497591"/>
              <a:gd name="connsiteX153" fmla="*/ 558454 w 977020"/>
              <a:gd name="connsiteY153" fmla="*/ 267665 h 497591"/>
              <a:gd name="connsiteX154" fmla="*/ 558454 w 977020"/>
              <a:gd name="connsiteY154" fmla="*/ 160314 h 497591"/>
              <a:gd name="connsiteX155" fmla="*/ 551847 w 977020"/>
              <a:gd name="connsiteY155" fmla="*/ 127025 h 497591"/>
              <a:gd name="connsiteX156" fmla="*/ 529320 w 977020"/>
              <a:gd name="connsiteY156" fmla="*/ 116838 h 497591"/>
              <a:gd name="connsiteX157" fmla="*/ 505693 w 977020"/>
              <a:gd name="connsiteY157" fmla="*/ 124948 h 497591"/>
              <a:gd name="connsiteX158" fmla="*/ 491876 w 977020"/>
              <a:gd name="connsiteY158" fmla="*/ 145171 h 497591"/>
              <a:gd name="connsiteX159" fmla="*/ 491876 w 977020"/>
              <a:gd name="connsiteY159" fmla="*/ 267690 h 497591"/>
              <a:gd name="connsiteX160" fmla="*/ 442744 w 977020"/>
              <a:gd name="connsiteY160" fmla="*/ 267690 h 497591"/>
              <a:gd name="connsiteX161" fmla="*/ 442744 w 977020"/>
              <a:gd name="connsiteY161" fmla="*/ 78644 h 497591"/>
              <a:gd name="connsiteX162" fmla="*/ 481689 w 977020"/>
              <a:gd name="connsiteY162" fmla="*/ 78644 h 497591"/>
              <a:gd name="connsiteX163" fmla="*/ 487371 w 977020"/>
              <a:gd name="connsiteY163" fmla="*/ 103673 h 497591"/>
              <a:gd name="connsiteX164" fmla="*/ 488873 w 977020"/>
              <a:gd name="connsiteY164" fmla="*/ 103673 h 497591"/>
              <a:gd name="connsiteX165" fmla="*/ 511950 w 977020"/>
              <a:gd name="connsiteY165" fmla="*/ 82498 h 497591"/>
              <a:gd name="connsiteX166" fmla="*/ 548993 w 977020"/>
              <a:gd name="connsiteY166" fmla="*/ 73413 h 497591"/>
              <a:gd name="connsiteX167" fmla="*/ 327008 w 977020"/>
              <a:gd name="connsiteY167" fmla="*/ 73337 h 497591"/>
              <a:gd name="connsiteX168" fmla="*/ 366329 w 977020"/>
              <a:gd name="connsiteY168" fmla="*/ 80521 h 497591"/>
              <a:gd name="connsiteX169" fmla="*/ 393862 w 977020"/>
              <a:gd name="connsiteY169" fmla="*/ 100769 h 497591"/>
              <a:gd name="connsiteX170" fmla="*/ 410481 w 977020"/>
              <a:gd name="connsiteY170" fmla="*/ 132331 h 497591"/>
              <a:gd name="connsiteX171" fmla="*/ 415963 w 977020"/>
              <a:gd name="connsiteY171" fmla="*/ 173154 h 497591"/>
              <a:gd name="connsiteX172" fmla="*/ 415812 w 977020"/>
              <a:gd name="connsiteY172" fmla="*/ 173154 h 497591"/>
              <a:gd name="connsiteX173" fmla="*/ 392560 w 977020"/>
              <a:gd name="connsiteY173" fmla="*/ 247091 h 497591"/>
              <a:gd name="connsiteX174" fmla="*/ 326958 w 977020"/>
              <a:gd name="connsiteY174" fmla="*/ 272996 h 497591"/>
              <a:gd name="connsiteX175" fmla="*/ 287837 w 977020"/>
              <a:gd name="connsiteY175" fmla="*/ 265813 h 497591"/>
              <a:gd name="connsiteX176" fmla="*/ 260030 w 977020"/>
              <a:gd name="connsiteY176" fmla="*/ 245589 h 497591"/>
              <a:gd name="connsiteX177" fmla="*/ 243410 w 977020"/>
              <a:gd name="connsiteY177" fmla="*/ 214002 h 497591"/>
              <a:gd name="connsiteX178" fmla="*/ 237779 w 977020"/>
              <a:gd name="connsiteY178" fmla="*/ 173154 h 497591"/>
              <a:gd name="connsiteX179" fmla="*/ 261206 w 977020"/>
              <a:gd name="connsiteY179" fmla="*/ 99243 h 497591"/>
              <a:gd name="connsiteX180" fmla="*/ 327008 w 977020"/>
              <a:gd name="connsiteY180" fmla="*/ 73337 h 497591"/>
              <a:gd name="connsiteX181" fmla="*/ 758864 w 977020"/>
              <a:gd name="connsiteY181" fmla="*/ 3005 h 497591"/>
              <a:gd name="connsiteX182" fmla="*/ 808022 w 977020"/>
              <a:gd name="connsiteY182" fmla="*/ 3005 h 497591"/>
              <a:gd name="connsiteX183" fmla="*/ 808022 w 977020"/>
              <a:gd name="connsiteY183" fmla="*/ 201137 h 497591"/>
              <a:gd name="connsiteX184" fmla="*/ 808397 w 977020"/>
              <a:gd name="connsiteY184" fmla="*/ 232924 h 497591"/>
              <a:gd name="connsiteX185" fmla="*/ 811801 w 977020"/>
              <a:gd name="connsiteY185" fmla="*/ 267965 h 497591"/>
              <a:gd name="connsiteX186" fmla="*/ 811726 w 977020"/>
              <a:gd name="connsiteY186" fmla="*/ 268040 h 497591"/>
              <a:gd name="connsiteX187" fmla="*/ 776685 w 977020"/>
              <a:gd name="connsiteY187" fmla="*/ 268040 h 497591"/>
              <a:gd name="connsiteX188" fmla="*/ 769877 w 977020"/>
              <a:gd name="connsiteY188" fmla="*/ 243462 h 497591"/>
              <a:gd name="connsiteX189" fmla="*/ 768400 w 977020"/>
              <a:gd name="connsiteY189" fmla="*/ 243462 h 497591"/>
              <a:gd name="connsiteX190" fmla="*/ 746650 w 977020"/>
              <a:gd name="connsiteY190" fmla="*/ 264837 h 497591"/>
              <a:gd name="connsiteX191" fmla="*/ 713186 w 977020"/>
              <a:gd name="connsiteY191" fmla="*/ 272971 h 497591"/>
              <a:gd name="connsiteX192" fmla="*/ 657971 w 977020"/>
              <a:gd name="connsiteY192" fmla="*/ 249519 h 497591"/>
              <a:gd name="connsiteX193" fmla="*/ 638248 w 977020"/>
              <a:gd name="connsiteY193" fmla="*/ 176183 h 497591"/>
              <a:gd name="connsiteX194" fmla="*/ 660199 w 977020"/>
              <a:gd name="connsiteY194" fmla="*/ 100945 h 497591"/>
              <a:gd name="connsiteX195" fmla="*/ 724449 w 977020"/>
              <a:gd name="connsiteY195" fmla="*/ 74213 h 497591"/>
              <a:gd name="connsiteX196" fmla="*/ 743721 w 977020"/>
              <a:gd name="connsiteY196" fmla="*/ 75565 h 497591"/>
              <a:gd name="connsiteX197" fmla="*/ 758864 w 977020"/>
              <a:gd name="connsiteY197" fmla="*/ 79895 h 497591"/>
              <a:gd name="connsiteX198" fmla="*/ 198107 w 977020"/>
              <a:gd name="connsiteY198" fmla="*/ 1 h 497591"/>
              <a:gd name="connsiteX199" fmla="*/ 248416 w 977020"/>
              <a:gd name="connsiteY199" fmla="*/ 7185 h 497591"/>
              <a:gd name="connsiteX200" fmla="*/ 248516 w 977020"/>
              <a:gd name="connsiteY200" fmla="*/ 7185 h 497591"/>
              <a:gd name="connsiteX201" fmla="*/ 239055 w 977020"/>
              <a:gd name="connsiteY201" fmla="*/ 46506 h 497591"/>
              <a:gd name="connsiteX202" fmla="*/ 223737 w 977020"/>
              <a:gd name="connsiteY202" fmla="*/ 42526 h 497591"/>
              <a:gd name="connsiteX203" fmla="*/ 209946 w 977020"/>
              <a:gd name="connsiteY203" fmla="*/ 41575 h 497591"/>
              <a:gd name="connsiteX204" fmla="*/ 198032 w 977020"/>
              <a:gd name="connsiteY204" fmla="*/ 43853 h 497591"/>
              <a:gd name="connsiteX205" fmla="*/ 191600 w 977020"/>
              <a:gd name="connsiteY205" fmla="*/ 50861 h 497591"/>
              <a:gd name="connsiteX206" fmla="*/ 188947 w 977020"/>
              <a:gd name="connsiteY206" fmla="*/ 62575 h 497591"/>
              <a:gd name="connsiteX207" fmla="*/ 188371 w 977020"/>
              <a:gd name="connsiteY207" fmla="*/ 78644 h 497591"/>
              <a:gd name="connsiteX208" fmla="*/ 229970 w 977020"/>
              <a:gd name="connsiteY208" fmla="*/ 78644 h 497591"/>
              <a:gd name="connsiteX209" fmla="*/ 229970 w 977020"/>
              <a:gd name="connsiteY209" fmla="*/ 120217 h 497591"/>
              <a:gd name="connsiteX210" fmla="*/ 188371 w 977020"/>
              <a:gd name="connsiteY210" fmla="*/ 120217 h 497591"/>
              <a:gd name="connsiteX211" fmla="*/ 188371 w 977020"/>
              <a:gd name="connsiteY211" fmla="*/ 243236 h 497591"/>
              <a:gd name="connsiteX212" fmla="*/ 172752 w 977020"/>
              <a:gd name="connsiteY212" fmla="*/ 280104 h 497591"/>
              <a:gd name="connsiteX213" fmla="*/ 147723 w 977020"/>
              <a:gd name="connsiteY213" fmla="*/ 270894 h 497591"/>
              <a:gd name="connsiteX214" fmla="*/ 116712 w 977020"/>
              <a:gd name="connsiteY214" fmla="*/ 267690 h 497591"/>
              <a:gd name="connsiteX215" fmla="*/ 98941 w 977020"/>
              <a:gd name="connsiteY215" fmla="*/ 270193 h 497591"/>
              <a:gd name="connsiteX216" fmla="*/ 88354 w 977020"/>
              <a:gd name="connsiteY216" fmla="*/ 277376 h 497591"/>
              <a:gd name="connsiteX217" fmla="*/ 83348 w 977020"/>
              <a:gd name="connsiteY217" fmla="*/ 289290 h 497591"/>
              <a:gd name="connsiteX218" fmla="*/ 82221 w 977020"/>
              <a:gd name="connsiteY218" fmla="*/ 305534 h 497591"/>
              <a:gd name="connsiteX219" fmla="*/ 188471 w 977020"/>
              <a:gd name="connsiteY219" fmla="*/ 305534 h 497591"/>
              <a:gd name="connsiteX220" fmla="*/ 188471 w 977020"/>
              <a:gd name="connsiteY220" fmla="*/ 494606 h 497591"/>
              <a:gd name="connsiteX221" fmla="*/ 139439 w 977020"/>
              <a:gd name="connsiteY221" fmla="*/ 494606 h 497591"/>
              <a:gd name="connsiteX222" fmla="*/ 139439 w 977020"/>
              <a:gd name="connsiteY222" fmla="*/ 347033 h 497591"/>
              <a:gd name="connsiteX223" fmla="*/ 82347 w 977020"/>
              <a:gd name="connsiteY223" fmla="*/ 347033 h 497591"/>
              <a:gd name="connsiteX224" fmla="*/ 82347 w 977020"/>
              <a:gd name="connsiteY224" fmla="*/ 494506 h 497591"/>
              <a:gd name="connsiteX225" fmla="*/ 33189 w 977020"/>
              <a:gd name="connsiteY225" fmla="*/ 494506 h 497591"/>
              <a:gd name="connsiteX226" fmla="*/ 33189 w 977020"/>
              <a:gd name="connsiteY226" fmla="*/ 347033 h 497591"/>
              <a:gd name="connsiteX227" fmla="*/ 0 w 977020"/>
              <a:gd name="connsiteY227" fmla="*/ 347033 h 497591"/>
              <a:gd name="connsiteX228" fmla="*/ 0 w 977020"/>
              <a:gd name="connsiteY228" fmla="*/ 305484 h 497591"/>
              <a:gd name="connsiteX229" fmla="*/ 33189 w 977020"/>
              <a:gd name="connsiteY229" fmla="*/ 305484 h 497591"/>
              <a:gd name="connsiteX230" fmla="*/ 33189 w 977020"/>
              <a:gd name="connsiteY230" fmla="*/ 294897 h 497591"/>
              <a:gd name="connsiteX231" fmla="*/ 51711 w 977020"/>
              <a:gd name="connsiteY231" fmla="*/ 242535 h 497591"/>
              <a:gd name="connsiteX232" fmla="*/ 105399 w 977020"/>
              <a:gd name="connsiteY232" fmla="*/ 226091 h 497591"/>
              <a:gd name="connsiteX233" fmla="*/ 139238 w 977020"/>
              <a:gd name="connsiteY233" fmla="*/ 228094 h 497591"/>
              <a:gd name="connsiteX234" fmla="*/ 139238 w 977020"/>
              <a:gd name="connsiteY234" fmla="*/ 120217 h 497591"/>
              <a:gd name="connsiteX235" fmla="*/ 113133 w 977020"/>
              <a:gd name="connsiteY235" fmla="*/ 120217 h 497591"/>
              <a:gd name="connsiteX236" fmla="*/ 113133 w 977020"/>
              <a:gd name="connsiteY236" fmla="*/ 78644 h 497591"/>
              <a:gd name="connsiteX237" fmla="*/ 139238 w 977020"/>
              <a:gd name="connsiteY237" fmla="*/ 78644 h 497591"/>
              <a:gd name="connsiteX238" fmla="*/ 139238 w 977020"/>
              <a:gd name="connsiteY238" fmla="*/ 68056 h 497591"/>
              <a:gd name="connsiteX239" fmla="*/ 154256 w 977020"/>
              <a:gd name="connsiteY239" fmla="*/ 16045 h 497591"/>
              <a:gd name="connsiteX240" fmla="*/ 198107 w 977020"/>
              <a:gd name="connsiteY240" fmla="*/ 1 h 4975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Lst>
            <a:rect l="l" t="t" r="r" b="b"/>
            <a:pathLst>
              <a:path w="977020" h="497591">
                <a:moveTo>
                  <a:pt x="514353" y="411433"/>
                </a:moveTo>
                <a:cubicBezTo>
                  <a:pt x="507878" y="411826"/>
                  <a:pt x="501468" y="412970"/>
                  <a:pt x="495255" y="414837"/>
                </a:cubicBezTo>
                <a:cubicBezTo>
                  <a:pt x="490312" y="416247"/>
                  <a:pt x="485782" y="418822"/>
                  <a:pt x="482040" y="422346"/>
                </a:cubicBezTo>
                <a:cubicBezTo>
                  <a:pt x="478706" y="425640"/>
                  <a:pt x="476891" y="430175"/>
                  <a:pt x="477034" y="434861"/>
                </a:cubicBezTo>
                <a:cubicBezTo>
                  <a:pt x="476666" y="440986"/>
                  <a:pt x="478944" y="446975"/>
                  <a:pt x="483291" y="451305"/>
                </a:cubicBezTo>
                <a:cubicBezTo>
                  <a:pt x="488062" y="455457"/>
                  <a:pt x="494274" y="457562"/>
                  <a:pt x="500587" y="457162"/>
                </a:cubicBezTo>
                <a:cubicBezTo>
                  <a:pt x="510423" y="457162"/>
                  <a:pt x="518107" y="454984"/>
                  <a:pt x="524014" y="450554"/>
                </a:cubicBezTo>
                <a:cubicBezTo>
                  <a:pt x="529253" y="446780"/>
                  <a:pt x="533635" y="441944"/>
                  <a:pt x="536879" y="436363"/>
                </a:cubicBezTo>
                <a:lnTo>
                  <a:pt x="536879" y="411809"/>
                </a:lnTo>
                <a:cubicBezTo>
                  <a:pt x="529393" y="411075"/>
                  <a:pt x="521859" y="410948"/>
                  <a:pt x="514353" y="411433"/>
                </a:cubicBezTo>
                <a:close/>
                <a:moveTo>
                  <a:pt x="823064" y="305384"/>
                </a:moveTo>
                <a:lnTo>
                  <a:pt x="971288" y="305384"/>
                </a:lnTo>
                <a:lnTo>
                  <a:pt x="971288" y="347033"/>
                </a:lnTo>
                <a:lnTo>
                  <a:pt x="897552" y="438215"/>
                </a:lnTo>
                <a:lnTo>
                  <a:pt x="878655" y="452957"/>
                </a:lnTo>
                <a:lnTo>
                  <a:pt x="971263" y="452957"/>
                </a:lnTo>
                <a:lnTo>
                  <a:pt x="971263" y="494556"/>
                </a:lnTo>
                <a:lnTo>
                  <a:pt x="823064" y="494556"/>
                </a:lnTo>
                <a:lnTo>
                  <a:pt x="823064" y="452957"/>
                </a:lnTo>
                <a:lnTo>
                  <a:pt x="897552" y="363352"/>
                </a:lnTo>
                <a:lnTo>
                  <a:pt x="916824" y="347083"/>
                </a:lnTo>
                <a:lnTo>
                  <a:pt x="823064" y="347083"/>
                </a:lnTo>
                <a:close/>
                <a:moveTo>
                  <a:pt x="517607" y="301705"/>
                </a:moveTo>
                <a:cubicBezTo>
                  <a:pt x="528757" y="301412"/>
                  <a:pt x="539878" y="303011"/>
                  <a:pt x="550495" y="306435"/>
                </a:cubicBezTo>
                <a:cubicBezTo>
                  <a:pt x="566414" y="311441"/>
                  <a:pt x="578545" y="324426"/>
                  <a:pt x="582457" y="340650"/>
                </a:cubicBezTo>
                <a:cubicBezTo>
                  <a:pt x="584695" y="349551"/>
                  <a:pt x="585781" y="358704"/>
                  <a:pt x="585686" y="367882"/>
                </a:cubicBezTo>
                <a:cubicBezTo>
                  <a:pt x="585686" y="378978"/>
                  <a:pt x="585303" y="390133"/>
                  <a:pt x="584535" y="401346"/>
                </a:cubicBezTo>
                <a:cubicBezTo>
                  <a:pt x="583767" y="412560"/>
                  <a:pt x="583316" y="423590"/>
                  <a:pt x="583183" y="434435"/>
                </a:cubicBezTo>
                <a:cubicBezTo>
                  <a:pt x="583051" y="445265"/>
                  <a:pt x="583359" y="455785"/>
                  <a:pt x="584109" y="465997"/>
                </a:cubicBezTo>
                <a:cubicBezTo>
                  <a:pt x="584805" y="475839"/>
                  <a:pt x="586713" y="485558"/>
                  <a:pt x="589791" y="494931"/>
                </a:cubicBezTo>
                <a:lnTo>
                  <a:pt x="549744" y="494931"/>
                </a:lnTo>
                <a:lnTo>
                  <a:pt x="541785" y="468851"/>
                </a:lnTo>
                <a:lnTo>
                  <a:pt x="539908" y="468851"/>
                </a:lnTo>
                <a:cubicBezTo>
                  <a:pt x="534469" y="477038"/>
                  <a:pt x="527313" y="483938"/>
                  <a:pt x="518933" y="489074"/>
                </a:cubicBezTo>
                <a:cubicBezTo>
                  <a:pt x="509973" y="494748"/>
                  <a:pt x="498434" y="497584"/>
                  <a:pt x="484317" y="497584"/>
                </a:cubicBezTo>
                <a:cubicBezTo>
                  <a:pt x="476201" y="497704"/>
                  <a:pt x="468129" y="496355"/>
                  <a:pt x="460490" y="493605"/>
                </a:cubicBezTo>
                <a:cubicBezTo>
                  <a:pt x="446861" y="488729"/>
                  <a:pt x="435956" y="478279"/>
                  <a:pt x="430505" y="464871"/>
                </a:cubicBezTo>
                <a:cubicBezTo>
                  <a:pt x="427636" y="457712"/>
                  <a:pt x="426225" y="450054"/>
                  <a:pt x="426350" y="442345"/>
                </a:cubicBezTo>
                <a:cubicBezTo>
                  <a:pt x="426007" y="432028"/>
                  <a:pt x="428695" y="421838"/>
                  <a:pt x="434084" y="413035"/>
                </a:cubicBezTo>
                <a:cubicBezTo>
                  <a:pt x="439680" y="404740"/>
                  <a:pt x="447387" y="398090"/>
                  <a:pt x="456410" y="393763"/>
                </a:cubicBezTo>
                <a:cubicBezTo>
                  <a:pt x="467370" y="388479"/>
                  <a:pt x="479124" y="385030"/>
                  <a:pt x="491201" y="383551"/>
                </a:cubicBezTo>
                <a:cubicBezTo>
                  <a:pt x="506176" y="381608"/>
                  <a:pt x="521298" y="381040"/>
                  <a:pt x="536378" y="381849"/>
                </a:cubicBezTo>
                <a:cubicBezTo>
                  <a:pt x="538131" y="367732"/>
                  <a:pt x="537122" y="357588"/>
                  <a:pt x="533350" y="351413"/>
                </a:cubicBezTo>
                <a:lnTo>
                  <a:pt x="533475" y="351438"/>
                </a:lnTo>
                <a:cubicBezTo>
                  <a:pt x="529703" y="345263"/>
                  <a:pt x="521261" y="342177"/>
                  <a:pt x="508145" y="342177"/>
                </a:cubicBezTo>
                <a:cubicBezTo>
                  <a:pt x="497678" y="342235"/>
                  <a:pt x="487241" y="343248"/>
                  <a:pt x="476959" y="345206"/>
                </a:cubicBezTo>
                <a:cubicBezTo>
                  <a:pt x="467645" y="346715"/>
                  <a:pt x="458557" y="349381"/>
                  <a:pt x="449902" y="353140"/>
                </a:cubicBezTo>
                <a:lnTo>
                  <a:pt x="438189" y="316472"/>
                </a:lnTo>
                <a:cubicBezTo>
                  <a:pt x="449699" y="311491"/>
                  <a:pt x="461753" y="307869"/>
                  <a:pt x="474105" y="305684"/>
                </a:cubicBezTo>
                <a:cubicBezTo>
                  <a:pt x="488447" y="302986"/>
                  <a:pt x="503012" y="301655"/>
                  <a:pt x="517607" y="301705"/>
                </a:cubicBezTo>
                <a:close/>
                <a:moveTo>
                  <a:pt x="339448" y="300253"/>
                </a:moveTo>
                <a:cubicBezTo>
                  <a:pt x="347943" y="300121"/>
                  <a:pt x="356400" y="301397"/>
                  <a:pt x="364477" y="304032"/>
                </a:cubicBezTo>
                <a:cubicBezTo>
                  <a:pt x="371666" y="306475"/>
                  <a:pt x="378068" y="310795"/>
                  <a:pt x="383024" y="316547"/>
                </a:cubicBezTo>
                <a:cubicBezTo>
                  <a:pt x="388595" y="323430"/>
                  <a:pt x="392478" y="331522"/>
                  <a:pt x="394362" y="340175"/>
                </a:cubicBezTo>
                <a:cubicBezTo>
                  <a:pt x="397048" y="352282"/>
                  <a:pt x="398257" y="364671"/>
                  <a:pt x="397966" y="377068"/>
                </a:cubicBezTo>
                <a:lnTo>
                  <a:pt x="397966" y="494706"/>
                </a:lnTo>
                <a:lnTo>
                  <a:pt x="348909" y="494706"/>
                </a:lnTo>
                <a:lnTo>
                  <a:pt x="348909" y="387080"/>
                </a:lnTo>
                <a:cubicBezTo>
                  <a:pt x="348909" y="371712"/>
                  <a:pt x="346699" y="360624"/>
                  <a:pt x="342276" y="353816"/>
                </a:cubicBezTo>
                <a:cubicBezTo>
                  <a:pt x="337853" y="347008"/>
                  <a:pt x="330345" y="343604"/>
                  <a:pt x="319750" y="343604"/>
                </a:cubicBezTo>
                <a:cubicBezTo>
                  <a:pt x="311140" y="343361"/>
                  <a:pt x="302735" y="346250"/>
                  <a:pt x="296097" y="351738"/>
                </a:cubicBezTo>
                <a:cubicBezTo>
                  <a:pt x="289737" y="357090"/>
                  <a:pt x="284967" y="364085"/>
                  <a:pt x="282306" y="371962"/>
                </a:cubicBezTo>
                <a:lnTo>
                  <a:pt x="282306" y="494481"/>
                </a:lnTo>
                <a:lnTo>
                  <a:pt x="233198" y="494481"/>
                </a:lnTo>
                <a:lnTo>
                  <a:pt x="233198" y="305484"/>
                </a:lnTo>
                <a:lnTo>
                  <a:pt x="272144" y="305484"/>
                </a:lnTo>
                <a:lnTo>
                  <a:pt x="277826" y="330514"/>
                </a:lnTo>
                <a:lnTo>
                  <a:pt x="279327" y="330514"/>
                </a:lnTo>
                <a:cubicBezTo>
                  <a:pt x="285570" y="322024"/>
                  <a:pt x="293409" y="314830"/>
                  <a:pt x="302404" y="309339"/>
                </a:cubicBezTo>
                <a:cubicBezTo>
                  <a:pt x="311966" y="303282"/>
                  <a:pt x="324313" y="300253"/>
                  <a:pt x="339448" y="300253"/>
                </a:cubicBezTo>
                <a:close/>
                <a:moveTo>
                  <a:pt x="733109" y="300228"/>
                </a:moveTo>
                <a:cubicBezTo>
                  <a:pt x="741604" y="300093"/>
                  <a:pt x="750061" y="301369"/>
                  <a:pt x="758138" y="304007"/>
                </a:cubicBezTo>
                <a:cubicBezTo>
                  <a:pt x="765327" y="306450"/>
                  <a:pt x="771729" y="310770"/>
                  <a:pt x="776685" y="316522"/>
                </a:cubicBezTo>
                <a:cubicBezTo>
                  <a:pt x="782257" y="323405"/>
                  <a:pt x="786139" y="331497"/>
                  <a:pt x="788023" y="340150"/>
                </a:cubicBezTo>
                <a:cubicBezTo>
                  <a:pt x="790739" y="352261"/>
                  <a:pt x="791966" y="364659"/>
                  <a:pt x="791678" y="377068"/>
                </a:cubicBezTo>
                <a:lnTo>
                  <a:pt x="791678" y="494706"/>
                </a:lnTo>
                <a:lnTo>
                  <a:pt x="742520" y="494706"/>
                </a:lnTo>
                <a:lnTo>
                  <a:pt x="742520" y="387080"/>
                </a:lnTo>
                <a:cubicBezTo>
                  <a:pt x="742520" y="371712"/>
                  <a:pt x="740317" y="360624"/>
                  <a:pt x="735912" y="353816"/>
                </a:cubicBezTo>
                <a:cubicBezTo>
                  <a:pt x="731507" y="347008"/>
                  <a:pt x="723998" y="343604"/>
                  <a:pt x="713386" y="343604"/>
                </a:cubicBezTo>
                <a:cubicBezTo>
                  <a:pt x="704783" y="343354"/>
                  <a:pt x="696383" y="346247"/>
                  <a:pt x="689758" y="351738"/>
                </a:cubicBezTo>
                <a:cubicBezTo>
                  <a:pt x="683383" y="357082"/>
                  <a:pt x="678603" y="364081"/>
                  <a:pt x="675942" y="371962"/>
                </a:cubicBezTo>
                <a:lnTo>
                  <a:pt x="675942" y="494481"/>
                </a:lnTo>
                <a:lnTo>
                  <a:pt x="626810" y="494481"/>
                </a:lnTo>
                <a:lnTo>
                  <a:pt x="626734" y="305459"/>
                </a:lnTo>
                <a:lnTo>
                  <a:pt x="665780" y="305459"/>
                </a:lnTo>
                <a:lnTo>
                  <a:pt x="671462" y="330489"/>
                </a:lnTo>
                <a:lnTo>
                  <a:pt x="672989" y="330489"/>
                </a:lnTo>
                <a:cubicBezTo>
                  <a:pt x="679216" y="321991"/>
                  <a:pt x="687048" y="314798"/>
                  <a:pt x="696041" y="309314"/>
                </a:cubicBezTo>
                <a:cubicBezTo>
                  <a:pt x="705602" y="303257"/>
                  <a:pt x="717959" y="300228"/>
                  <a:pt x="733109" y="300228"/>
                </a:cubicBezTo>
                <a:close/>
                <a:moveTo>
                  <a:pt x="730506" y="115762"/>
                </a:moveTo>
                <a:cubicBezTo>
                  <a:pt x="716640" y="115762"/>
                  <a:pt x="706235" y="120425"/>
                  <a:pt x="699295" y="129753"/>
                </a:cubicBezTo>
                <a:cubicBezTo>
                  <a:pt x="692354" y="139082"/>
                  <a:pt x="688890" y="155091"/>
                  <a:pt x="688907" y="177785"/>
                </a:cubicBezTo>
                <a:cubicBezTo>
                  <a:pt x="688907" y="193903"/>
                  <a:pt x="691743" y="206886"/>
                  <a:pt x="697417" y="216730"/>
                </a:cubicBezTo>
                <a:cubicBezTo>
                  <a:pt x="703091" y="226574"/>
                  <a:pt x="712102" y="231490"/>
                  <a:pt x="724449" y="231472"/>
                </a:cubicBezTo>
                <a:cubicBezTo>
                  <a:pt x="734028" y="231472"/>
                  <a:pt x="741586" y="229137"/>
                  <a:pt x="747125" y="224464"/>
                </a:cubicBezTo>
                <a:lnTo>
                  <a:pt x="747125" y="224389"/>
                </a:lnTo>
                <a:cubicBezTo>
                  <a:pt x="753083" y="219061"/>
                  <a:pt x="757192" y="211980"/>
                  <a:pt x="758864" y="204166"/>
                </a:cubicBezTo>
                <a:lnTo>
                  <a:pt x="758864" y="124072"/>
                </a:lnTo>
                <a:cubicBezTo>
                  <a:pt x="755340" y="121333"/>
                  <a:pt x="751368" y="119224"/>
                  <a:pt x="747125" y="117839"/>
                </a:cubicBezTo>
                <a:cubicBezTo>
                  <a:pt x="741722" y="116310"/>
                  <a:pt x="736120" y="115609"/>
                  <a:pt x="730506" y="115762"/>
                </a:cubicBezTo>
                <a:close/>
                <a:moveTo>
                  <a:pt x="327108" y="114986"/>
                </a:moveTo>
                <a:cubicBezTo>
                  <a:pt x="315978" y="114513"/>
                  <a:pt x="305340" y="119619"/>
                  <a:pt x="298750" y="128602"/>
                </a:cubicBezTo>
                <a:cubicBezTo>
                  <a:pt x="291942" y="137680"/>
                  <a:pt x="288538" y="152548"/>
                  <a:pt x="288538" y="173204"/>
                </a:cubicBezTo>
                <a:cubicBezTo>
                  <a:pt x="288476" y="180956"/>
                  <a:pt x="289239" y="188692"/>
                  <a:pt x="290816" y="196281"/>
                </a:cubicBezTo>
                <a:cubicBezTo>
                  <a:pt x="292117" y="202766"/>
                  <a:pt x="294405" y="209011"/>
                  <a:pt x="297599" y="214803"/>
                </a:cubicBezTo>
                <a:cubicBezTo>
                  <a:pt x="300410" y="219884"/>
                  <a:pt x="304522" y="224126"/>
                  <a:pt x="309513" y="227092"/>
                </a:cubicBezTo>
                <a:cubicBezTo>
                  <a:pt x="314854" y="230093"/>
                  <a:pt x="320909" y="231600"/>
                  <a:pt x="327033" y="231447"/>
                </a:cubicBezTo>
                <a:cubicBezTo>
                  <a:pt x="339898" y="231447"/>
                  <a:pt x="349477" y="226784"/>
                  <a:pt x="355767" y="217456"/>
                </a:cubicBezTo>
                <a:lnTo>
                  <a:pt x="355842" y="217456"/>
                </a:lnTo>
                <a:cubicBezTo>
                  <a:pt x="362149" y="208145"/>
                  <a:pt x="365303" y="193396"/>
                  <a:pt x="365303" y="173204"/>
                </a:cubicBezTo>
                <a:cubicBezTo>
                  <a:pt x="365303" y="155834"/>
                  <a:pt x="362400" y="141785"/>
                  <a:pt x="356593" y="131055"/>
                </a:cubicBezTo>
                <a:cubicBezTo>
                  <a:pt x="350786" y="120325"/>
                  <a:pt x="340957" y="114969"/>
                  <a:pt x="327108" y="114986"/>
                </a:cubicBezTo>
                <a:close/>
                <a:moveTo>
                  <a:pt x="906262" y="73413"/>
                </a:moveTo>
                <a:cubicBezTo>
                  <a:pt x="919385" y="73265"/>
                  <a:pt x="932473" y="74797"/>
                  <a:pt x="945207" y="77968"/>
                </a:cubicBezTo>
                <a:cubicBezTo>
                  <a:pt x="954689" y="80168"/>
                  <a:pt x="963842" y="83592"/>
                  <a:pt x="972439" y="88155"/>
                </a:cubicBezTo>
                <a:lnTo>
                  <a:pt x="961477" y="123721"/>
                </a:lnTo>
                <a:cubicBezTo>
                  <a:pt x="955670" y="121436"/>
                  <a:pt x="948361" y="119041"/>
                  <a:pt x="939551" y="116538"/>
                </a:cubicBezTo>
                <a:cubicBezTo>
                  <a:pt x="930821" y="114020"/>
                  <a:pt x="921780" y="112738"/>
                  <a:pt x="912694" y="112734"/>
                </a:cubicBezTo>
                <a:cubicBezTo>
                  <a:pt x="905386" y="112734"/>
                  <a:pt x="899904" y="114152"/>
                  <a:pt x="896250" y="116989"/>
                </a:cubicBezTo>
                <a:lnTo>
                  <a:pt x="890833" y="129603"/>
                </a:lnTo>
                <a:lnTo>
                  <a:pt x="890819" y="129578"/>
                </a:lnTo>
                <a:lnTo>
                  <a:pt x="890769" y="129753"/>
                </a:lnTo>
                <a:lnTo>
                  <a:pt x="890833" y="129603"/>
                </a:lnTo>
                <a:lnTo>
                  <a:pt x="897226" y="140541"/>
                </a:lnTo>
                <a:cubicBezTo>
                  <a:pt x="902237" y="143680"/>
                  <a:pt x="907563" y="146280"/>
                  <a:pt x="913120" y="148300"/>
                </a:cubicBezTo>
                <a:cubicBezTo>
                  <a:pt x="919427" y="150703"/>
                  <a:pt x="926360" y="153288"/>
                  <a:pt x="933919" y="156059"/>
                </a:cubicBezTo>
                <a:cubicBezTo>
                  <a:pt x="941288" y="158735"/>
                  <a:pt x="948279" y="162352"/>
                  <a:pt x="954719" y="166822"/>
                </a:cubicBezTo>
                <a:cubicBezTo>
                  <a:pt x="961161" y="171390"/>
                  <a:pt x="966575" y="177256"/>
                  <a:pt x="970612" y="184042"/>
                </a:cubicBezTo>
                <a:cubicBezTo>
                  <a:pt x="974900" y="191100"/>
                  <a:pt x="977037" y="200168"/>
                  <a:pt x="977020" y="211249"/>
                </a:cubicBezTo>
                <a:cubicBezTo>
                  <a:pt x="977020" y="230421"/>
                  <a:pt x="970913" y="245439"/>
                  <a:pt x="958698" y="256301"/>
                </a:cubicBezTo>
                <a:cubicBezTo>
                  <a:pt x="946484" y="267164"/>
                  <a:pt x="928130" y="272653"/>
                  <a:pt x="903634" y="272771"/>
                </a:cubicBezTo>
                <a:cubicBezTo>
                  <a:pt x="890946" y="272881"/>
                  <a:pt x="878307" y="271197"/>
                  <a:pt x="866090" y="267765"/>
                </a:cubicBezTo>
                <a:cubicBezTo>
                  <a:pt x="856091" y="265084"/>
                  <a:pt x="846494" y="261077"/>
                  <a:pt x="837557" y="255851"/>
                </a:cubicBezTo>
                <a:lnTo>
                  <a:pt x="851122" y="219383"/>
                </a:lnTo>
                <a:cubicBezTo>
                  <a:pt x="858486" y="223316"/>
                  <a:pt x="866202" y="226542"/>
                  <a:pt x="874174" y="229020"/>
                </a:cubicBezTo>
                <a:cubicBezTo>
                  <a:pt x="883696" y="232156"/>
                  <a:pt x="893659" y="233743"/>
                  <a:pt x="903684" y="233725"/>
                </a:cubicBezTo>
                <a:cubicBezTo>
                  <a:pt x="909798" y="234016"/>
                  <a:pt x="915871" y="232576"/>
                  <a:pt x="921204" y="229570"/>
                </a:cubicBezTo>
                <a:cubicBezTo>
                  <a:pt x="925609" y="226817"/>
                  <a:pt x="927837" y="222061"/>
                  <a:pt x="927837" y="215604"/>
                </a:cubicBezTo>
                <a:cubicBezTo>
                  <a:pt x="927925" y="210726"/>
                  <a:pt x="925494" y="206148"/>
                  <a:pt x="921405" y="203490"/>
                </a:cubicBezTo>
                <a:cubicBezTo>
                  <a:pt x="916446" y="200116"/>
                  <a:pt x="911113" y="197327"/>
                  <a:pt x="905511" y="195180"/>
                </a:cubicBezTo>
                <a:cubicBezTo>
                  <a:pt x="899203" y="192660"/>
                  <a:pt x="892271" y="190074"/>
                  <a:pt x="884711" y="187421"/>
                </a:cubicBezTo>
                <a:cubicBezTo>
                  <a:pt x="877271" y="184845"/>
                  <a:pt x="870265" y="181149"/>
                  <a:pt x="863937" y="176458"/>
                </a:cubicBezTo>
                <a:cubicBezTo>
                  <a:pt x="857495" y="171667"/>
                  <a:pt x="852088" y="165623"/>
                  <a:pt x="848044" y="158687"/>
                </a:cubicBezTo>
                <a:cubicBezTo>
                  <a:pt x="843739" y="151496"/>
                  <a:pt x="841593" y="142226"/>
                  <a:pt x="841611" y="130880"/>
                </a:cubicBezTo>
                <a:cubicBezTo>
                  <a:pt x="841611" y="112240"/>
                  <a:pt x="847160" y="97999"/>
                  <a:pt x="858256" y="88155"/>
                </a:cubicBezTo>
                <a:cubicBezTo>
                  <a:pt x="869351" y="78311"/>
                  <a:pt x="885355" y="73395"/>
                  <a:pt x="906262" y="73413"/>
                </a:cubicBezTo>
                <a:close/>
                <a:moveTo>
                  <a:pt x="548993" y="73413"/>
                </a:moveTo>
                <a:cubicBezTo>
                  <a:pt x="557488" y="73285"/>
                  <a:pt x="565946" y="74561"/>
                  <a:pt x="574023" y="77192"/>
                </a:cubicBezTo>
                <a:cubicBezTo>
                  <a:pt x="581199" y="79645"/>
                  <a:pt x="587591" y="83965"/>
                  <a:pt x="592544" y="89706"/>
                </a:cubicBezTo>
                <a:cubicBezTo>
                  <a:pt x="598111" y="96592"/>
                  <a:pt x="601993" y="104684"/>
                  <a:pt x="603883" y="113334"/>
                </a:cubicBezTo>
                <a:cubicBezTo>
                  <a:pt x="606623" y="125426"/>
                  <a:pt x="607892" y="137805"/>
                  <a:pt x="607662" y="150202"/>
                </a:cubicBezTo>
                <a:lnTo>
                  <a:pt x="607537" y="267665"/>
                </a:lnTo>
                <a:lnTo>
                  <a:pt x="558454" y="267665"/>
                </a:lnTo>
                <a:lnTo>
                  <a:pt x="558454" y="160314"/>
                </a:lnTo>
                <a:cubicBezTo>
                  <a:pt x="558454" y="144946"/>
                  <a:pt x="556252" y="133851"/>
                  <a:pt x="551847" y="127025"/>
                </a:cubicBezTo>
                <a:cubicBezTo>
                  <a:pt x="547442" y="120200"/>
                  <a:pt x="539933" y="116806"/>
                  <a:pt x="529320" y="116838"/>
                </a:cubicBezTo>
                <a:cubicBezTo>
                  <a:pt x="520723" y="116585"/>
                  <a:pt x="512325" y="119469"/>
                  <a:pt x="505693" y="124948"/>
                </a:cubicBezTo>
                <a:cubicBezTo>
                  <a:pt x="499318" y="130291"/>
                  <a:pt x="494537" y="137290"/>
                  <a:pt x="491876" y="145171"/>
                </a:cubicBezTo>
                <a:lnTo>
                  <a:pt x="491876" y="267690"/>
                </a:lnTo>
                <a:lnTo>
                  <a:pt x="442744" y="267690"/>
                </a:lnTo>
                <a:lnTo>
                  <a:pt x="442744" y="78644"/>
                </a:lnTo>
                <a:lnTo>
                  <a:pt x="481689" y="78644"/>
                </a:lnTo>
                <a:lnTo>
                  <a:pt x="487371" y="103673"/>
                </a:lnTo>
                <a:lnTo>
                  <a:pt x="488873" y="103673"/>
                </a:lnTo>
                <a:cubicBezTo>
                  <a:pt x="495123" y="95188"/>
                  <a:pt x="502959" y="87997"/>
                  <a:pt x="511950" y="82498"/>
                </a:cubicBezTo>
                <a:cubicBezTo>
                  <a:pt x="521529" y="76441"/>
                  <a:pt x="533876" y="73413"/>
                  <a:pt x="548993" y="73413"/>
                </a:cubicBezTo>
                <a:close/>
                <a:moveTo>
                  <a:pt x="327008" y="73337"/>
                </a:moveTo>
                <a:cubicBezTo>
                  <a:pt x="340467" y="73027"/>
                  <a:pt x="353850" y="75472"/>
                  <a:pt x="366329" y="80521"/>
                </a:cubicBezTo>
                <a:cubicBezTo>
                  <a:pt x="376964" y="85021"/>
                  <a:pt x="386395" y="91957"/>
                  <a:pt x="393862" y="100769"/>
                </a:cubicBezTo>
                <a:cubicBezTo>
                  <a:pt x="401535" y="110020"/>
                  <a:pt x="407195" y="120770"/>
                  <a:pt x="410481" y="132331"/>
                </a:cubicBezTo>
                <a:cubicBezTo>
                  <a:pt x="414261" y="145604"/>
                  <a:pt x="416108" y="159353"/>
                  <a:pt x="415963" y="173154"/>
                </a:cubicBezTo>
                <a:lnTo>
                  <a:pt x="415812" y="173154"/>
                </a:lnTo>
                <a:cubicBezTo>
                  <a:pt x="415812" y="205192"/>
                  <a:pt x="408061" y="229838"/>
                  <a:pt x="392560" y="247091"/>
                </a:cubicBezTo>
                <a:cubicBezTo>
                  <a:pt x="377059" y="264343"/>
                  <a:pt x="355191" y="272978"/>
                  <a:pt x="326958" y="272996"/>
                </a:cubicBezTo>
                <a:cubicBezTo>
                  <a:pt x="313565" y="273279"/>
                  <a:pt x="300257" y="270834"/>
                  <a:pt x="287837" y="265813"/>
                </a:cubicBezTo>
                <a:cubicBezTo>
                  <a:pt x="277137" y="261300"/>
                  <a:pt x="267621" y="254379"/>
                  <a:pt x="260030" y="245589"/>
                </a:cubicBezTo>
                <a:cubicBezTo>
                  <a:pt x="252308" y="236361"/>
                  <a:pt x="246642" y="225593"/>
                  <a:pt x="243410" y="214002"/>
                </a:cubicBezTo>
                <a:cubicBezTo>
                  <a:pt x="239576" y="200729"/>
                  <a:pt x="237679" y="186970"/>
                  <a:pt x="237779" y="173154"/>
                </a:cubicBezTo>
                <a:cubicBezTo>
                  <a:pt x="237779" y="141167"/>
                  <a:pt x="245588" y="116530"/>
                  <a:pt x="261206" y="99243"/>
                </a:cubicBezTo>
                <a:cubicBezTo>
                  <a:pt x="276825" y="81955"/>
                  <a:pt x="298758" y="73320"/>
                  <a:pt x="327008" y="73337"/>
                </a:cubicBezTo>
                <a:close/>
                <a:moveTo>
                  <a:pt x="758864" y="3005"/>
                </a:moveTo>
                <a:lnTo>
                  <a:pt x="808022" y="3005"/>
                </a:lnTo>
                <a:lnTo>
                  <a:pt x="808022" y="201137"/>
                </a:lnTo>
                <a:cubicBezTo>
                  <a:pt x="808022" y="211750"/>
                  <a:pt x="808022" y="222312"/>
                  <a:pt x="808397" y="232924"/>
                </a:cubicBezTo>
                <a:cubicBezTo>
                  <a:pt x="808763" y="244666"/>
                  <a:pt x="809899" y="256372"/>
                  <a:pt x="811801" y="267965"/>
                </a:cubicBezTo>
                <a:lnTo>
                  <a:pt x="811726" y="268040"/>
                </a:lnTo>
                <a:lnTo>
                  <a:pt x="776685" y="268040"/>
                </a:lnTo>
                <a:lnTo>
                  <a:pt x="769877" y="243462"/>
                </a:lnTo>
                <a:lnTo>
                  <a:pt x="768400" y="243462"/>
                </a:lnTo>
                <a:cubicBezTo>
                  <a:pt x="763224" y="252429"/>
                  <a:pt x="755705" y="259818"/>
                  <a:pt x="746650" y="264837"/>
                </a:cubicBezTo>
                <a:cubicBezTo>
                  <a:pt x="736405" y="270446"/>
                  <a:pt x="724862" y="273252"/>
                  <a:pt x="713186" y="272971"/>
                </a:cubicBezTo>
                <a:cubicBezTo>
                  <a:pt x="689475" y="272971"/>
                  <a:pt x="671069" y="265154"/>
                  <a:pt x="657971" y="249519"/>
                </a:cubicBezTo>
                <a:cubicBezTo>
                  <a:pt x="644873" y="233883"/>
                  <a:pt x="638298" y="209439"/>
                  <a:pt x="638248" y="176183"/>
                </a:cubicBezTo>
                <a:cubicBezTo>
                  <a:pt x="638248" y="143927"/>
                  <a:pt x="645564" y="118848"/>
                  <a:pt x="660199" y="100945"/>
                </a:cubicBezTo>
                <a:cubicBezTo>
                  <a:pt x="674833" y="83041"/>
                  <a:pt x="696248" y="74131"/>
                  <a:pt x="724449" y="74213"/>
                </a:cubicBezTo>
                <a:cubicBezTo>
                  <a:pt x="730899" y="74111"/>
                  <a:pt x="737349" y="74564"/>
                  <a:pt x="743721" y="75565"/>
                </a:cubicBezTo>
                <a:cubicBezTo>
                  <a:pt x="748907" y="76471"/>
                  <a:pt x="753983" y="77923"/>
                  <a:pt x="758864" y="79895"/>
                </a:cubicBezTo>
                <a:close/>
                <a:moveTo>
                  <a:pt x="198107" y="1"/>
                </a:moveTo>
                <a:cubicBezTo>
                  <a:pt x="218281" y="1"/>
                  <a:pt x="235051" y="2397"/>
                  <a:pt x="248416" y="7185"/>
                </a:cubicBezTo>
                <a:lnTo>
                  <a:pt x="248516" y="7185"/>
                </a:lnTo>
                <a:lnTo>
                  <a:pt x="239055" y="46506"/>
                </a:lnTo>
                <a:cubicBezTo>
                  <a:pt x="234087" y="44694"/>
                  <a:pt x="228958" y="43360"/>
                  <a:pt x="223737" y="42526"/>
                </a:cubicBezTo>
                <a:cubicBezTo>
                  <a:pt x="219169" y="41886"/>
                  <a:pt x="214559" y="41568"/>
                  <a:pt x="209946" y="41575"/>
                </a:cubicBezTo>
                <a:cubicBezTo>
                  <a:pt x="205851" y="41387"/>
                  <a:pt x="201769" y="42166"/>
                  <a:pt x="198032" y="43853"/>
                </a:cubicBezTo>
                <a:cubicBezTo>
                  <a:pt x="195134" y="45365"/>
                  <a:pt x="192859" y="47845"/>
                  <a:pt x="191600" y="50861"/>
                </a:cubicBezTo>
                <a:cubicBezTo>
                  <a:pt x="190063" y="54588"/>
                  <a:pt x="189164" y="58548"/>
                  <a:pt x="188947" y="62575"/>
                </a:cubicBezTo>
                <a:cubicBezTo>
                  <a:pt x="188564" y="67230"/>
                  <a:pt x="188371" y="72586"/>
                  <a:pt x="188371" y="78644"/>
                </a:cubicBezTo>
                <a:lnTo>
                  <a:pt x="229970" y="78644"/>
                </a:lnTo>
                <a:lnTo>
                  <a:pt x="229970" y="120217"/>
                </a:lnTo>
                <a:lnTo>
                  <a:pt x="188371" y="120217"/>
                </a:lnTo>
                <a:lnTo>
                  <a:pt x="188371" y="243236"/>
                </a:lnTo>
                <a:cubicBezTo>
                  <a:pt x="188371" y="264661"/>
                  <a:pt x="172752" y="280104"/>
                  <a:pt x="172752" y="280104"/>
                </a:cubicBezTo>
                <a:cubicBezTo>
                  <a:pt x="164833" y="275985"/>
                  <a:pt x="156423" y="272889"/>
                  <a:pt x="147723" y="270894"/>
                </a:cubicBezTo>
                <a:cubicBezTo>
                  <a:pt x="137539" y="268671"/>
                  <a:pt x="127137" y="267597"/>
                  <a:pt x="116712" y="267690"/>
                </a:cubicBezTo>
                <a:cubicBezTo>
                  <a:pt x="110690" y="267522"/>
                  <a:pt x="104683" y="268368"/>
                  <a:pt x="98941" y="270193"/>
                </a:cubicBezTo>
                <a:cubicBezTo>
                  <a:pt x="94814" y="271559"/>
                  <a:pt x="91150" y="274047"/>
                  <a:pt x="88354" y="277376"/>
                </a:cubicBezTo>
                <a:cubicBezTo>
                  <a:pt x="85670" y="280840"/>
                  <a:pt x="83946" y="284950"/>
                  <a:pt x="83348" y="289290"/>
                </a:cubicBezTo>
                <a:cubicBezTo>
                  <a:pt x="82554" y="294669"/>
                  <a:pt x="82179" y="300098"/>
                  <a:pt x="82221" y="305534"/>
                </a:cubicBezTo>
                <a:lnTo>
                  <a:pt x="188471" y="305534"/>
                </a:lnTo>
                <a:lnTo>
                  <a:pt x="188471" y="494606"/>
                </a:lnTo>
                <a:lnTo>
                  <a:pt x="139439" y="494606"/>
                </a:lnTo>
                <a:lnTo>
                  <a:pt x="139439" y="347033"/>
                </a:lnTo>
                <a:lnTo>
                  <a:pt x="82347" y="347033"/>
                </a:lnTo>
                <a:lnTo>
                  <a:pt x="82347" y="494506"/>
                </a:lnTo>
                <a:lnTo>
                  <a:pt x="33189" y="494506"/>
                </a:lnTo>
                <a:lnTo>
                  <a:pt x="33189" y="347033"/>
                </a:lnTo>
                <a:lnTo>
                  <a:pt x="0" y="347033"/>
                </a:lnTo>
                <a:lnTo>
                  <a:pt x="0" y="305484"/>
                </a:lnTo>
                <a:lnTo>
                  <a:pt x="33189" y="305484"/>
                </a:lnTo>
                <a:lnTo>
                  <a:pt x="33189" y="294897"/>
                </a:lnTo>
                <a:cubicBezTo>
                  <a:pt x="33189" y="270969"/>
                  <a:pt x="39364" y="253516"/>
                  <a:pt x="51711" y="242535"/>
                </a:cubicBezTo>
                <a:cubicBezTo>
                  <a:pt x="64058" y="231555"/>
                  <a:pt x="81954" y="226074"/>
                  <a:pt x="105399" y="226091"/>
                </a:cubicBezTo>
                <a:cubicBezTo>
                  <a:pt x="116709" y="226051"/>
                  <a:pt x="128010" y="226719"/>
                  <a:pt x="139238" y="228094"/>
                </a:cubicBezTo>
                <a:lnTo>
                  <a:pt x="139238" y="120217"/>
                </a:lnTo>
                <a:lnTo>
                  <a:pt x="113133" y="120217"/>
                </a:lnTo>
                <a:lnTo>
                  <a:pt x="113133" y="78644"/>
                </a:lnTo>
                <a:lnTo>
                  <a:pt x="139238" y="78644"/>
                </a:lnTo>
                <a:lnTo>
                  <a:pt x="139238" y="68056"/>
                </a:lnTo>
                <a:cubicBezTo>
                  <a:pt x="139238" y="44110"/>
                  <a:pt x="144244" y="26775"/>
                  <a:pt x="154256" y="16045"/>
                </a:cubicBezTo>
                <a:cubicBezTo>
                  <a:pt x="164268" y="5315"/>
                  <a:pt x="178885" y="-31"/>
                  <a:pt x="198107" y="1"/>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80000" tIns="144000" rIns="180000" bIns="144000" rtlCol="0" anchor="t">
            <a:noAutofit/>
          </a:bodyPr>
          <a:lstStyle/>
          <a:p>
            <a:pPr algn="l"/>
            <a:endParaRPr lang="de-DE" sz="1600" dirty="0" err="1">
              <a:solidFill>
                <a:schemeClr val="bg1"/>
              </a:solidFill>
            </a:endParaRPr>
          </a:p>
        </p:txBody>
      </p:sp>
      <p:sp>
        <p:nvSpPr>
          <p:cNvPr id="21" name="Bildplatzhalter 20">
            <a:extLst>
              <a:ext uri="{FF2B5EF4-FFF2-40B4-BE49-F238E27FC236}">
                <a16:creationId xmlns:a16="http://schemas.microsoft.com/office/drawing/2014/main" id="{536B2866-E229-4EE3-9A83-7DA90A71AE34}"/>
              </a:ext>
            </a:extLst>
          </p:cNvPr>
          <p:cNvSpPr>
            <a:spLocks noGrp="1"/>
          </p:cNvSpPr>
          <p:nvPr>
            <p:ph type="pic" sz="quarter" idx="14" hasCustomPrompt="1"/>
          </p:nvPr>
        </p:nvSpPr>
        <p:spPr bwMode="gray">
          <a:xfrm>
            <a:off x="200438" y="211702"/>
            <a:ext cx="11791121" cy="6434593"/>
          </a:xfrm>
          <a:custGeom>
            <a:avLst/>
            <a:gdLst>
              <a:gd name="connsiteX0" fmla="*/ 11431877 w 11791121"/>
              <a:gd name="connsiteY0" fmla="*/ 251034 h 6434593"/>
              <a:gd name="connsiteX1" fmla="*/ 10467022 w 11791121"/>
              <a:gd name="connsiteY1" fmla="*/ 411772 h 6434593"/>
              <a:gd name="connsiteX2" fmla="*/ 10298349 w 11791121"/>
              <a:gd name="connsiteY2" fmla="*/ 551410 h 6434593"/>
              <a:gd name="connsiteX3" fmla="*/ 10102195 w 11791121"/>
              <a:gd name="connsiteY3" fmla="*/ 1068040 h 6434593"/>
              <a:gd name="connsiteX4" fmla="*/ 10166670 w 11791121"/>
              <a:gd name="connsiteY4" fmla="*/ 1157996 h 6434593"/>
              <a:gd name="connsiteX5" fmla="*/ 11186765 w 11791121"/>
              <a:gd name="connsiteY5" fmla="*/ 1120777 h 6434593"/>
              <a:gd name="connsiteX6" fmla="*/ 11337442 w 11791121"/>
              <a:gd name="connsiteY6" fmla="*/ 1003465 h 6434593"/>
              <a:gd name="connsiteX7" fmla="*/ 11510845 w 11791121"/>
              <a:gd name="connsiteY7" fmla="*/ 340664 h 6434593"/>
              <a:gd name="connsiteX8" fmla="*/ 11431827 w 11791121"/>
              <a:gd name="connsiteY8" fmla="*/ 251109 h 6434593"/>
              <a:gd name="connsiteX9" fmla="*/ 0 w 11791121"/>
              <a:gd name="connsiteY9" fmla="*/ 0 h 6434593"/>
              <a:gd name="connsiteX10" fmla="*/ 11791121 w 11791121"/>
              <a:gd name="connsiteY10" fmla="*/ 0 h 6434593"/>
              <a:gd name="connsiteX11" fmla="*/ 11791121 w 11791121"/>
              <a:gd name="connsiteY11" fmla="*/ 6434593 h 6434593"/>
              <a:gd name="connsiteX12" fmla="*/ 5070577 w 11791121"/>
              <a:gd name="connsiteY12" fmla="*/ 6434593 h 6434593"/>
              <a:gd name="connsiteX13" fmla="*/ 5176620 w 11791121"/>
              <a:gd name="connsiteY13" fmla="*/ 6383214 h 6434593"/>
              <a:gd name="connsiteX14" fmla="*/ 5529571 w 11791121"/>
              <a:gd name="connsiteY14" fmla="*/ 5888242 h 6434593"/>
              <a:gd name="connsiteX15" fmla="*/ 6441050 w 11791121"/>
              <a:gd name="connsiteY15" fmla="*/ 2405411 h 6434593"/>
              <a:gd name="connsiteX16" fmla="*/ 6139310 w 11791121"/>
              <a:gd name="connsiteY16" fmla="*/ 1927714 h 6434593"/>
              <a:gd name="connsiteX17" fmla="*/ 6025426 w 11791121"/>
              <a:gd name="connsiteY17" fmla="*/ 1935861 h 6434593"/>
              <a:gd name="connsiteX18" fmla="*/ 955068 w 11791121"/>
              <a:gd name="connsiteY18" fmla="*/ 2780263 h 6434593"/>
              <a:gd name="connsiteX19" fmla="*/ 68578 w 11791121"/>
              <a:gd name="connsiteY19" fmla="*/ 3514183 h 6434593"/>
              <a:gd name="connsiteX20" fmla="*/ 36064 w 11791121"/>
              <a:gd name="connsiteY20" fmla="*/ 3582576 h 6434593"/>
              <a:gd name="connsiteX21" fmla="*/ 0 w 11791121"/>
              <a:gd name="connsiteY21" fmla="*/ 3664408 h 64345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1791121" h="6434593">
                <a:moveTo>
                  <a:pt x="11431877" y="251034"/>
                </a:moveTo>
                <a:cubicBezTo>
                  <a:pt x="11369530" y="260720"/>
                  <a:pt x="10531773" y="394351"/>
                  <a:pt x="10467022" y="411772"/>
                </a:cubicBezTo>
                <a:cubicBezTo>
                  <a:pt x="10388855" y="432746"/>
                  <a:pt x="10337771" y="472843"/>
                  <a:pt x="10298349" y="551410"/>
                </a:cubicBezTo>
                <a:cubicBezTo>
                  <a:pt x="10258928" y="629977"/>
                  <a:pt x="10121092" y="1016480"/>
                  <a:pt x="10102195" y="1068040"/>
                </a:cubicBezTo>
                <a:cubicBezTo>
                  <a:pt x="10083298" y="1119601"/>
                  <a:pt x="10108827" y="1160298"/>
                  <a:pt x="10166670" y="1157996"/>
                </a:cubicBezTo>
                <a:cubicBezTo>
                  <a:pt x="10222135" y="1155718"/>
                  <a:pt x="11186765" y="1120777"/>
                  <a:pt x="11186765" y="1120777"/>
                </a:cubicBezTo>
                <a:cubicBezTo>
                  <a:pt x="11277722" y="1116697"/>
                  <a:pt x="11321924" y="1062884"/>
                  <a:pt x="11337442" y="1003465"/>
                </a:cubicBezTo>
                <a:cubicBezTo>
                  <a:pt x="11337442" y="1003465"/>
                  <a:pt x="11495127" y="401535"/>
                  <a:pt x="11510845" y="340664"/>
                </a:cubicBezTo>
                <a:cubicBezTo>
                  <a:pt x="11527189" y="277740"/>
                  <a:pt x="11493099" y="241597"/>
                  <a:pt x="11431827" y="251109"/>
                </a:cubicBezTo>
                <a:close/>
                <a:moveTo>
                  <a:pt x="0" y="0"/>
                </a:moveTo>
                <a:lnTo>
                  <a:pt x="11791121" y="0"/>
                </a:lnTo>
                <a:lnTo>
                  <a:pt x="11791121" y="6434593"/>
                </a:lnTo>
                <a:lnTo>
                  <a:pt x="5070577" y="6434593"/>
                </a:lnTo>
                <a:lnTo>
                  <a:pt x="5176620" y="6383214"/>
                </a:lnTo>
                <a:cubicBezTo>
                  <a:pt x="5368553" y="6267717"/>
                  <a:pt x="5478604" y="6083888"/>
                  <a:pt x="5529571" y="5888242"/>
                </a:cubicBezTo>
                <a:cubicBezTo>
                  <a:pt x="5529571" y="5888242"/>
                  <a:pt x="6358189" y="2725022"/>
                  <a:pt x="6441050" y="2405411"/>
                </a:cubicBezTo>
                <a:cubicBezTo>
                  <a:pt x="6515856" y="2115394"/>
                  <a:pt x="6388254" y="1934133"/>
                  <a:pt x="6139310" y="1927714"/>
                </a:cubicBezTo>
                <a:cubicBezTo>
                  <a:pt x="6103747" y="1926798"/>
                  <a:pt x="6065707" y="1929449"/>
                  <a:pt x="6025426" y="1935861"/>
                </a:cubicBezTo>
                <a:cubicBezTo>
                  <a:pt x="5697924" y="1985842"/>
                  <a:pt x="1295722" y="2688195"/>
                  <a:pt x="955068" y="2780263"/>
                </a:cubicBezTo>
                <a:cubicBezTo>
                  <a:pt x="544705" y="2890746"/>
                  <a:pt x="276390" y="3101188"/>
                  <a:pt x="68578" y="3514183"/>
                </a:cubicBezTo>
                <a:cubicBezTo>
                  <a:pt x="58836" y="3533542"/>
                  <a:pt x="47959" y="3556456"/>
                  <a:pt x="36064" y="3582576"/>
                </a:cubicBezTo>
                <a:lnTo>
                  <a:pt x="0" y="3664408"/>
                </a:lnTo>
                <a:close/>
              </a:path>
            </a:pathLst>
          </a:custGeom>
          <a:solidFill>
            <a:schemeClr val="bg2"/>
          </a:solidFill>
        </p:spPr>
        <p:txBody>
          <a:bodyPr wrap="square" lIns="108014" tIns="36005">
            <a:noAutofit/>
          </a:bodyPr>
          <a:lstStyle>
            <a:lvl1pPr>
              <a:spcAft>
                <a:spcPts val="0"/>
              </a:spcAft>
              <a:defRPr sz="1600" b="0">
                <a:sym typeface="Wingdings" panose="05000000000000000000" pitchFamily="2" charset="2"/>
              </a:defRPr>
            </a:lvl1pPr>
          </a:lstStyle>
          <a:p>
            <a:r>
              <a:rPr lang="de-DE" noProof="0" dirty="0"/>
              <a:t>Hier geht’s zur Bilder-Bibliothek:  Schnellzugriff  </a:t>
            </a:r>
            <a:r>
              <a:rPr lang="de-DE" noProof="0" dirty="0" err="1"/>
              <a:t>PPT_Bilder_Vorlagen</a:t>
            </a:r>
            <a:endParaRPr lang="de-DE" noProof="0" dirty="0"/>
          </a:p>
        </p:txBody>
      </p:sp>
      <p:sp>
        <p:nvSpPr>
          <p:cNvPr id="2" name="Titel 1">
            <a:extLst>
              <a:ext uri="{FF2B5EF4-FFF2-40B4-BE49-F238E27FC236}">
                <a16:creationId xmlns:a16="http://schemas.microsoft.com/office/drawing/2014/main" id="{5E46ADA1-AF22-413A-A734-CCC1D9AD7797}"/>
              </a:ext>
            </a:extLst>
          </p:cNvPr>
          <p:cNvSpPr>
            <a:spLocks noGrp="1"/>
          </p:cNvSpPr>
          <p:nvPr>
            <p:ph type="ctrTitle" hasCustomPrompt="1"/>
          </p:nvPr>
        </p:nvSpPr>
        <p:spPr bwMode="gray">
          <a:xfrm>
            <a:off x="745185" y="3805389"/>
            <a:ext cx="5094302" cy="993092"/>
          </a:xfrm>
        </p:spPr>
        <p:txBody>
          <a:bodyPr vert="horz" anchor="b">
            <a:normAutofit/>
          </a:bodyPr>
          <a:lstStyle>
            <a:lvl1pPr algn="l" rtl="0">
              <a:lnSpc>
                <a:spcPct val="80000"/>
              </a:lnSpc>
              <a:defRPr sz="4000" b="1">
                <a:solidFill>
                  <a:schemeClr val="accent1"/>
                </a:solidFill>
              </a:defRPr>
            </a:lvl1pPr>
          </a:lstStyle>
          <a:p>
            <a:r>
              <a:rPr lang="de-DE" noProof="0" dirty="0"/>
              <a:t>Titel der Präsentation,</a:t>
            </a:r>
            <a:br>
              <a:rPr lang="de-DE" noProof="0" dirty="0"/>
            </a:br>
            <a:r>
              <a:rPr lang="de-DE" noProof="0" dirty="0"/>
              <a:t>max. 2 Zeilen</a:t>
            </a:r>
          </a:p>
        </p:txBody>
      </p:sp>
      <p:sp>
        <p:nvSpPr>
          <p:cNvPr id="3" name="Untertitel 2">
            <a:extLst>
              <a:ext uri="{FF2B5EF4-FFF2-40B4-BE49-F238E27FC236}">
                <a16:creationId xmlns:a16="http://schemas.microsoft.com/office/drawing/2014/main" id="{258D0788-6273-4724-9B62-0B33B18BC6BD}"/>
              </a:ext>
            </a:extLst>
          </p:cNvPr>
          <p:cNvSpPr>
            <a:spLocks noGrp="1"/>
          </p:cNvSpPr>
          <p:nvPr>
            <p:ph type="subTitle" idx="1" hasCustomPrompt="1"/>
          </p:nvPr>
        </p:nvSpPr>
        <p:spPr bwMode="gray">
          <a:xfrm>
            <a:off x="745183" y="4841551"/>
            <a:ext cx="5094301" cy="615553"/>
          </a:xfrm>
        </p:spPr>
        <p:txBody>
          <a:bodyPr>
            <a:noAutofit/>
          </a:bodyPr>
          <a:lstStyle>
            <a:lvl1pPr marL="0" indent="0" algn="l" rtl="0">
              <a:spcAft>
                <a:spcPts val="0"/>
              </a:spcAft>
              <a:buNone/>
              <a:defRPr sz="2000" b="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noProof="0" dirty="0"/>
              <a:t>Untertitel, </a:t>
            </a:r>
            <a:br>
              <a:rPr lang="de-DE" noProof="0" dirty="0"/>
            </a:br>
            <a:r>
              <a:rPr lang="de-DE" noProof="0" dirty="0"/>
              <a:t>max. 2 Zeilen</a:t>
            </a:r>
          </a:p>
        </p:txBody>
      </p:sp>
      <p:sp>
        <p:nvSpPr>
          <p:cNvPr id="9" name="Textplatzhalter 8">
            <a:extLst>
              <a:ext uri="{FF2B5EF4-FFF2-40B4-BE49-F238E27FC236}">
                <a16:creationId xmlns:a16="http://schemas.microsoft.com/office/drawing/2014/main" id="{F963E73E-C3B7-4B41-882B-6480581EA544}"/>
              </a:ext>
            </a:extLst>
          </p:cNvPr>
          <p:cNvSpPr>
            <a:spLocks noGrp="1"/>
          </p:cNvSpPr>
          <p:nvPr>
            <p:ph type="body" sz="quarter" idx="13" hasCustomPrompt="1"/>
          </p:nvPr>
        </p:nvSpPr>
        <p:spPr bwMode="gray">
          <a:xfrm>
            <a:off x="745184" y="5851632"/>
            <a:ext cx="3320978" cy="369332"/>
          </a:xfrm>
        </p:spPr>
        <p:txBody>
          <a:bodyPr wrap="square">
            <a:noAutofit/>
          </a:bodyPr>
          <a:lstStyle>
            <a:lvl1pPr rtl="0">
              <a:spcAft>
                <a:spcPts val="0"/>
              </a:spcAft>
              <a:defRPr sz="1200" b="0">
                <a:solidFill>
                  <a:schemeClr val="bg1"/>
                </a:solidFill>
              </a:defRPr>
            </a:lvl1pPr>
          </a:lstStyle>
          <a:p>
            <a:pPr lvl="0"/>
            <a:r>
              <a:rPr lang="de-DE" noProof="0" dirty="0"/>
              <a:t>Name, Abteilung</a:t>
            </a:r>
          </a:p>
          <a:p>
            <a:pPr lvl="0"/>
            <a:r>
              <a:rPr lang="de-DE" noProof="0" dirty="0"/>
              <a:t>Ort, Datum</a:t>
            </a:r>
          </a:p>
        </p:txBody>
      </p:sp>
    </p:spTree>
    <p:extLst>
      <p:ext uri="{BB962C8B-B14F-4D97-AF65-F5344CB8AC3E}">
        <p14:creationId xmlns:p14="http://schemas.microsoft.com/office/powerpoint/2010/main" val="306318006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Quadranten">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13D02009-4389-4113-A170-B981C2934D85}"/>
              </a:ext>
            </a:extLst>
          </p:cNvPr>
          <p:cNvGraphicFramePr>
            <a:graphicFrameLocks noChangeAspect="1"/>
          </p:cNvGraphicFramePr>
          <p:nvPr userDrawn="1">
            <p:custDataLst>
              <p:tags r:id="rId1"/>
            </p:custDataLst>
            <p:extLst>
              <p:ext uri="{D42A27DB-BD31-4B8C-83A1-F6EECF244321}">
                <p14:modId xmlns:p14="http://schemas.microsoft.com/office/powerpoint/2010/main" val="38844274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6" name="Objekt 5" hidden="1">
                        <a:extLst>
                          <a:ext uri="{FF2B5EF4-FFF2-40B4-BE49-F238E27FC236}">
                            <a16:creationId xmlns:a16="http://schemas.microsoft.com/office/drawing/2014/main" id="{13D02009-4389-4113-A170-B981C2934D8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FA4F4229-E8C8-4CBE-A19F-F2E39F8B974D}"/>
              </a:ext>
            </a:extLst>
          </p:cNvPr>
          <p:cNvSpPr>
            <a:spLocks noGrp="1"/>
          </p:cNvSpPr>
          <p:nvPr>
            <p:ph type="title" hasCustomPrompt="1"/>
          </p:nvPr>
        </p:nvSpPr>
        <p:spPr bwMode="gray">
          <a:xfrm>
            <a:off x="479425" y="739916"/>
            <a:ext cx="11233150" cy="443198"/>
          </a:xfrm>
        </p:spPr>
        <p:txBody>
          <a:bodyPr vert="horz"/>
          <a:lstStyle>
            <a:lvl1pPr rtl="0">
              <a:defRPr/>
            </a:lvl1pPr>
          </a:lstStyle>
          <a:p>
            <a:r>
              <a:rPr lang="de-DE" noProof="0" dirty="0"/>
              <a:t>Headline, PT Sans, 32 </a:t>
            </a:r>
            <a:r>
              <a:rPr lang="de-DE" noProof="0" dirty="0" err="1"/>
              <a:t>pt</a:t>
            </a:r>
            <a:endParaRPr lang="de-DE" noProof="0" dirty="0"/>
          </a:p>
        </p:txBody>
      </p:sp>
      <p:sp>
        <p:nvSpPr>
          <p:cNvPr id="5" name="Textplatzhalter 4">
            <a:extLst>
              <a:ext uri="{FF2B5EF4-FFF2-40B4-BE49-F238E27FC236}">
                <a16:creationId xmlns:a16="http://schemas.microsoft.com/office/drawing/2014/main" id="{367A2C7B-B1CB-4A40-9B2B-4BBEED823514}"/>
              </a:ext>
            </a:extLst>
          </p:cNvPr>
          <p:cNvSpPr>
            <a:spLocks noGrp="1"/>
          </p:cNvSpPr>
          <p:nvPr>
            <p:ph type="body" sz="quarter" idx="11" hasCustomPrompt="1"/>
          </p:nvPr>
        </p:nvSpPr>
        <p:spPr bwMode="gray">
          <a:xfrm>
            <a:off x="479425" y="1628775"/>
            <a:ext cx="5472113" cy="2087563"/>
          </a:xfrm>
        </p:spPr>
        <p:txBody>
          <a:bodyPr/>
          <a:lstStyle>
            <a:lvl1pPr rtl="0">
              <a:defRPr/>
            </a:lvl1pPr>
            <a:lvl2pPr rtl="0">
              <a:defRPr/>
            </a:lvl2pPr>
            <a:lvl3pPr rtl="0">
              <a:defRPr/>
            </a:lvl3pPr>
            <a:lvl4pPr rtl="0">
              <a:defRPr/>
            </a:lvl4pPr>
            <a:lvl5pPr rtl="0">
              <a:defRPr/>
            </a:lvl5pPr>
            <a:lvl6pPr rtl="0">
              <a:defRPr/>
            </a:lvl6pPr>
          </a:lstStyle>
          <a:p>
            <a:pPr lvl="0"/>
            <a:r>
              <a:rPr lang="de-DE" noProof="0" dirty="0"/>
              <a:t>Sub-Headline, PT Sans fett, 20 </a:t>
            </a:r>
            <a:r>
              <a:rPr lang="de-DE" noProof="0" dirty="0" err="1"/>
              <a:t>pt</a:t>
            </a:r>
            <a:endParaRPr lang="de-DE" noProof="0" dirty="0"/>
          </a:p>
          <a:p>
            <a:pPr lvl="1"/>
            <a:r>
              <a:rPr lang="de-DE" noProof="0" dirty="0"/>
              <a:t>Copy, PT Sans, 16 </a:t>
            </a:r>
            <a:r>
              <a:rPr lang="de-DE" noProof="0" dirty="0" err="1"/>
              <a:t>pt</a:t>
            </a:r>
            <a:endParaRPr lang="de-DE" noProof="0" dirty="0"/>
          </a:p>
          <a:p>
            <a:pPr lvl="2"/>
            <a:r>
              <a:rPr lang="de-DE" noProof="0" dirty="0"/>
              <a:t>1. Ebene, PT Sans, 16 </a:t>
            </a:r>
            <a:r>
              <a:rPr lang="de-DE" noProof="0" dirty="0" err="1"/>
              <a:t>pt</a:t>
            </a:r>
            <a:endParaRPr lang="de-DE" noProof="0" dirty="0"/>
          </a:p>
          <a:p>
            <a:pPr lvl="3"/>
            <a:r>
              <a:rPr lang="de-DE" noProof="0" dirty="0"/>
              <a:t>2. Ebene, PT Sans, 16 </a:t>
            </a:r>
            <a:r>
              <a:rPr lang="de-DE" noProof="0" dirty="0" err="1"/>
              <a:t>pt</a:t>
            </a:r>
            <a:endParaRPr lang="de-DE" noProof="0" dirty="0"/>
          </a:p>
          <a:p>
            <a:pPr lvl="4"/>
            <a:r>
              <a:rPr lang="de-DE" noProof="0" dirty="0"/>
              <a:t>3. Ebene, PT Sans, 16 </a:t>
            </a:r>
            <a:r>
              <a:rPr lang="de-DE" noProof="0" dirty="0" err="1"/>
              <a:t>pt</a:t>
            </a:r>
            <a:endParaRPr lang="de-DE" noProof="0" dirty="0"/>
          </a:p>
          <a:p>
            <a:pPr lvl="5"/>
            <a:r>
              <a:rPr lang="de-DE" noProof="0" dirty="0"/>
              <a:t>4. Ebene, PT Sans, 16 </a:t>
            </a:r>
            <a:r>
              <a:rPr lang="de-DE" noProof="0" dirty="0" err="1"/>
              <a:t>pt</a:t>
            </a:r>
            <a:endParaRPr lang="de-DE" noProof="0" dirty="0"/>
          </a:p>
        </p:txBody>
      </p:sp>
      <p:sp>
        <p:nvSpPr>
          <p:cNvPr id="7" name="Textplatzhalter 6">
            <a:extLst>
              <a:ext uri="{FF2B5EF4-FFF2-40B4-BE49-F238E27FC236}">
                <a16:creationId xmlns:a16="http://schemas.microsoft.com/office/drawing/2014/main" id="{2F778BDD-DC71-4139-8AC3-AA24B513E71D}"/>
              </a:ext>
            </a:extLst>
          </p:cNvPr>
          <p:cNvSpPr>
            <a:spLocks noGrp="1"/>
          </p:cNvSpPr>
          <p:nvPr>
            <p:ph type="body" sz="quarter" idx="12" hasCustomPrompt="1"/>
          </p:nvPr>
        </p:nvSpPr>
        <p:spPr bwMode="gray">
          <a:xfrm>
            <a:off x="6240463" y="1628775"/>
            <a:ext cx="5472112" cy="2087563"/>
          </a:xfrm>
        </p:spPr>
        <p:txBody>
          <a:bodyPr/>
          <a:lstStyle>
            <a:lvl1pPr rtl="0">
              <a:defRPr/>
            </a:lvl1pPr>
            <a:lvl2pPr rtl="0">
              <a:defRPr/>
            </a:lvl2pPr>
            <a:lvl3pPr rtl="0">
              <a:defRPr/>
            </a:lvl3pPr>
            <a:lvl4pPr rtl="0">
              <a:defRPr/>
            </a:lvl4pPr>
            <a:lvl5pPr rtl="0">
              <a:defRPr/>
            </a:lvl5pPr>
            <a:lvl6pPr rtl="0">
              <a:defRPr/>
            </a:lvl6pPr>
          </a:lstStyle>
          <a:p>
            <a:pPr lvl="0"/>
            <a:r>
              <a:rPr lang="de-DE" noProof="0" dirty="0"/>
              <a:t>Sub-Headline, PT Sans fett, 20 </a:t>
            </a:r>
            <a:r>
              <a:rPr lang="de-DE" noProof="0" dirty="0" err="1"/>
              <a:t>pt</a:t>
            </a:r>
            <a:endParaRPr lang="de-DE" noProof="0" dirty="0"/>
          </a:p>
          <a:p>
            <a:pPr lvl="1"/>
            <a:r>
              <a:rPr lang="de-DE" noProof="0" dirty="0"/>
              <a:t>Copy, PT Sans, 16 </a:t>
            </a:r>
            <a:r>
              <a:rPr lang="de-DE" noProof="0" dirty="0" err="1"/>
              <a:t>pt</a:t>
            </a:r>
            <a:endParaRPr lang="de-DE" noProof="0" dirty="0"/>
          </a:p>
          <a:p>
            <a:pPr lvl="2"/>
            <a:r>
              <a:rPr lang="de-DE" noProof="0" dirty="0"/>
              <a:t>1. Ebene, PT Sans, 16 </a:t>
            </a:r>
            <a:r>
              <a:rPr lang="de-DE" noProof="0" dirty="0" err="1"/>
              <a:t>pt</a:t>
            </a:r>
            <a:endParaRPr lang="de-DE" noProof="0" dirty="0"/>
          </a:p>
          <a:p>
            <a:pPr lvl="3"/>
            <a:r>
              <a:rPr lang="de-DE" noProof="0" dirty="0"/>
              <a:t>2. Ebene, PT Sans, 16 </a:t>
            </a:r>
            <a:r>
              <a:rPr lang="de-DE" noProof="0" dirty="0" err="1"/>
              <a:t>pt</a:t>
            </a:r>
            <a:endParaRPr lang="de-DE" noProof="0" dirty="0"/>
          </a:p>
          <a:p>
            <a:pPr lvl="4"/>
            <a:r>
              <a:rPr lang="de-DE" noProof="0" dirty="0"/>
              <a:t>3. Ebene, PT Sans, 16 </a:t>
            </a:r>
            <a:r>
              <a:rPr lang="de-DE" noProof="0" dirty="0" err="1"/>
              <a:t>pt</a:t>
            </a:r>
            <a:endParaRPr lang="de-DE" noProof="0" dirty="0"/>
          </a:p>
          <a:p>
            <a:pPr lvl="5"/>
            <a:r>
              <a:rPr lang="de-DE" noProof="0" dirty="0"/>
              <a:t>4. Ebene, PT Sans, 16 </a:t>
            </a:r>
            <a:r>
              <a:rPr lang="de-DE" noProof="0" dirty="0" err="1"/>
              <a:t>pt</a:t>
            </a:r>
            <a:endParaRPr lang="de-DE" noProof="0" dirty="0"/>
          </a:p>
        </p:txBody>
      </p:sp>
      <p:sp>
        <p:nvSpPr>
          <p:cNvPr id="9" name="Textplatzhalter 8">
            <a:extLst>
              <a:ext uri="{FF2B5EF4-FFF2-40B4-BE49-F238E27FC236}">
                <a16:creationId xmlns:a16="http://schemas.microsoft.com/office/drawing/2014/main" id="{6B133476-BB35-4E82-AEA0-BC4A2B21AC70}"/>
              </a:ext>
            </a:extLst>
          </p:cNvPr>
          <p:cNvSpPr>
            <a:spLocks noGrp="1"/>
          </p:cNvSpPr>
          <p:nvPr>
            <p:ph type="body" sz="quarter" idx="13" hasCustomPrompt="1"/>
          </p:nvPr>
        </p:nvSpPr>
        <p:spPr bwMode="gray">
          <a:xfrm>
            <a:off x="479425" y="4005263"/>
            <a:ext cx="5472113" cy="2087562"/>
          </a:xfrm>
        </p:spPr>
        <p:txBody>
          <a:bodyPr/>
          <a:lstStyle>
            <a:lvl1pPr rtl="0">
              <a:defRPr/>
            </a:lvl1pPr>
            <a:lvl2pPr rtl="0">
              <a:defRPr/>
            </a:lvl2pPr>
            <a:lvl3pPr rtl="0">
              <a:defRPr/>
            </a:lvl3pPr>
            <a:lvl4pPr rtl="0">
              <a:defRPr/>
            </a:lvl4pPr>
            <a:lvl5pPr rtl="0">
              <a:defRPr/>
            </a:lvl5pPr>
            <a:lvl6pPr rtl="0">
              <a:defRPr/>
            </a:lvl6pPr>
          </a:lstStyle>
          <a:p>
            <a:pPr lvl="0"/>
            <a:r>
              <a:rPr lang="de-DE" noProof="0" dirty="0"/>
              <a:t>Sub-Headline, PT Sans fett, 20 </a:t>
            </a:r>
            <a:r>
              <a:rPr lang="de-DE" noProof="0" dirty="0" err="1"/>
              <a:t>pt</a:t>
            </a:r>
            <a:endParaRPr lang="de-DE" noProof="0" dirty="0"/>
          </a:p>
          <a:p>
            <a:pPr lvl="1"/>
            <a:r>
              <a:rPr lang="de-DE" noProof="0" dirty="0"/>
              <a:t>Copy, PT Sans, 16 </a:t>
            </a:r>
            <a:r>
              <a:rPr lang="de-DE" noProof="0" dirty="0" err="1"/>
              <a:t>pt</a:t>
            </a:r>
            <a:endParaRPr lang="de-DE" noProof="0" dirty="0"/>
          </a:p>
          <a:p>
            <a:pPr lvl="2"/>
            <a:r>
              <a:rPr lang="de-DE" noProof="0" dirty="0"/>
              <a:t>1. Ebene, PT Sans, 16 </a:t>
            </a:r>
            <a:r>
              <a:rPr lang="de-DE" noProof="0" dirty="0" err="1"/>
              <a:t>pt</a:t>
            </a:r>
            <a:endParaRPr lang="de-DE" noProof="0" dirty="0"/>
          </a:p>
          <a:p>
            <a:pPr lvl="3"/>
            <a:r>
              <a:rPr lang="de-DE" noProof="0" dirty="0"/>
              <a:t>2. Ebene, PT Sans, 16 </a:t>
            </a:r>
            <a:r>
              <a:rPr lang="de-DE" noProof="0" dirty="0" err="1"/>
              <a:t>pt</a:t>
            </a:r>
            <a:endParaRPr lang="de-DE" noProof="0" dirty="0"/>
          </a:p>
          <a:p>
            <a:pPr lvl="4"/>
            <a:r>
              <a:rPr lang="de-DE" noProof="0" dirty="0"/>
              <a:t>3. Ebene, PT Sans, 16 </a:t>
            </a:r>
            <a:r>
              <a:rPr lang="de-DE" noProof="0" dirty="0" err="1"/>
              <a:t>pt</a:t>
            </a:r>
            <a:endParaRPr lang="de-DE" noProof="0" dirty="0"/>
          </a:p>
          <a:p>
            <a:pPr lvl="5"/>
            <a:r>
              <a:rPr lang="de-DE" noProof="0" dirty="0"/>
              <a:t>4. Ebene, PT Sans, 16 </a:t>
            </a:r>
            <a:r>
              <a:rPr lang="de-DE" noProof="0" dirty="0" err="1"/>
              <a:t>pt</a:t>
            </a:r>
            <a:endParaRPr lang="de-DE" noProof="0" dirty="0"/>
          </a:p>
        </p:txBody>
      </p:sp>
      <p:sp>
        <p:nvSpPr>
          <p:cNvPr id="11" name="Textplatzhalter 10">
            <a:extLst>
              <a:ext uri="{FF2B5EF4-FFF2-40B4-BE49-F238E27FC236}">
                <a16:creationId xmlns:a16="http://schemas.microsoft.com/office/drawing/2014/main" id="{BEDCBE7C-020C-4387-AB39-CC36D49FFF72}"/>
              </a:ext>
            </a:extLst>
          </p:cNvPr>
          <p:cNvSpPr>
            <a:spLocks noGrp="1"/>
          </p:cNvSpPr>
          <p:nvPr>
            <p:ph type="body" sz="quarter" idx="14" hasCustomPrompt="1"/>
          </p:nvPr>
        </p:nvSpPr>
        <p:spPr bwMode="gray">
          <a:xfrm>
            <a:off x="6240463" y="4005263"/>
            <a:ext cx="5472112" cy="2087562"/>
          </a:xfrm>
        </p:spPr>
        <p:txBody>
          <a:bodyPr/>
          <a:lstStyle>
            <a:lvl1pPr rtl="0">
              <a:defRPr/>
            </a:lvl1pPr>
            <a:lvl2pPr rtl="0">
              <a:defRPr/>
            </a:lvl2pPr>
            <a:lvl3pPr rtl="0">
              <a:defRPr/>
            </a:lvl3pPr>
            <a:lvl4pPr rtl="0">
              <a:defRPr/>
            </a:lvl4pPr>
            <a:lvl5pPr rtl="0">
              <a:defRPr/>
            </a:lvl5pPr>
            <a:lvl6pPr rtl="0">
              <a:defRPr/>
            </a:lvl6pPr>
          </a:lstStyle>
          <a:p>
            <a:pPr lvl="0"/>
            <a:r>
              <a:rPr lang="de-DE" noProof="0" dirty="0"/>
              <a:t>Sub-Headline, PT Sans fett, 20 </a:t>
            </a:r>
            <a:r>
              <a:rPr lang="de-DE" noProof="0" dirty="0" err="1"/>
              <a:t>pt</a:t>
            </a:r>
            <a:endParaRPr lang="de-DE" noProof="0" dirty="0"/>
          </a:p>
          <a:p>
            <a:pPr lvl="1"/>
            <a:r>
              <a:rPr lang="de-DE" noProof="0" dirty="0"/>
              <a:t>Copy, PT Sans, 16 </a:t>
            </a:r>
            <a:r>
              <a:rPr lang="de-DE" noProof="0" dirty="0" err="1"/>
              <a:t>pt</a:t>
            </a:r>
            <a:endParaRPr lang="de-DE" noProof="0" dirty="0"/>
          </a:p>
          <a:p>
            <a:pPr lvl="2"/>
            <a:r>
              <a:rPr lang="de-DE" noProof="0" dirty="0"/>
              <a:t>1. Ebene, PT Sans, 16 </a:t>
            </a:r>
            <a:r>
              <a:rPr lang="de-DE" noProof="0" dirty="0" err="1"/>
              <a:t>pt</a:t>
            </a:r>
            <a:endParaRPr lang="de-DE" noProof="0" dirty="0"/>
          </a:p>
          <a:p>
            <a:pPr lvl="3"/>
            <a:r>
              <a:rPr lang="de-DE" noProof="0" dirty="0"/>
              <a:t>2. Ebene, PT Sans, 16 </a:t>
            </a:r>
            <a:r>
              <a:rPr lang="de-DE" noProof="0" dirty="0" err="1"/>
              <a:t>pt</a:t>
            </a:r>
            <a:endParaRPr lang="de-DE" noProof="0" dirty="0"/>
          </a:p>
          <a:p>
            <a:pPr lvl="4"/>
            <a:r>
              <a:rPr lang="de-DE" noProof="0" dirty="0"/>
              <a:t>3. Ebene, PT Sans, 16 </a:t>
            </a:r>
            <a:r>
              <a:rPr lang="de-DE" noProof="0" dirty="0" err="1"/>
              <a:t>pt</a:t>
            </a:r>
            <a:endParaRPr lang="de-DE" noProof="0" dirty="0"/>
          </a:p>
          <a:p>
            <a:pPr lvl="5"/>
            <a:r>
              <a:rPr lang="de-DE" noProof="0" dirty="0"/>
              <a:t>4. Ebene, PT Sans, 16 </a:t>
            </a:r>
            <a:r>
              <a:rPr lang="de-DE" noProof="0" dirty="0" err="1"/>
              <a:t>pt</a:t>
            </a:r>
            <a:endParaRPr lang="de-DE" noProof="0" dirty="0"/>
          </a:p>
        </p:txBody>
      </p:sp>
      <p:sp>
        <p:nvSpPr>
          <p:cNvPr id="12" name="Textplatzhalter 2">
            <a:extLst>
              <a:ext uri="{FF2B5EF4-FFF2-40B4-BE49-F238E27FC236}">
                <a16:creationId xmlns:a16="http://schemas.microsoft.com/office/drawing/2014/main" id="{0B2E5FE3-E275-4F4C-ADAE-8FC6E7CCF324}"/>
              </a:ext>
            </a:extLst>
          </p:cNvPr>
          <p:cNvSpPr>
            <a:spLocks noGrp="1"/>
          </p:cNvSpPr>
          <p:nvPr>
            <p:ph type="body" sz="quarter" idx="15" hasCustomPrompt="1"/>
          </p:nvPr>
        </p:nvSpPr>
        <p:spPr>
          <a:xfrm>
            <a:off x="479425" y="156260"/>
            <a:ext cx="11233150" cy="430887"/>
          </a:xfrm>
        </p:spPr>
        <p:txBody>
          <a:bodyPr anchor="b">
            <a:spAutoFit/>
          </a:bodyPr>
          <a:lstStyle>
            <a:lvl1pPr>
              <a:spcAft>
                <a:spcPts val="0"/>
              </a:spcAft>
              <a:defRPr sz="1400" b="0" i="1">
                <a:solidFill>
                  <a:schemeClr val="accent1"/>
                </a:solidFill>
              </a:defRPr>
            </a:lvl1pPr>
            <a:lvl2pPr>
              <a:defRPr sz="1400" b="0" i="1">
                <a:solidFill>
                  <a:schemeClr val="accent1"/>
                </a:solidFill>
              </a:defRPr>
            </a:lvl2pPr>
            <a:lvl3pPr>
              <a:defRPr sz="1400" b="0" i="1">
                <a:solidFill>
                  <a:schemeClr val="accent1"/>
                </a:solidFill>
              </a:defRPr>
            </a:lvl3pPr>
            <a:lvl4pPr>
              <a:defRPr sz="1400" b="0" i="1">
                <a:solidFill>
                  <a:schemeClr val="accent1"/>
                </a:solidFill>
              </a:defRPr>
            </a:lvl4pPr>
            <a:lvl5pPr>
              <a:defRPr sz="1400" b="0" i="1">
                <a:solidFill>
                  <a:schemeClr val="accent1"/>
                </a:solidFill>
              </a:defRPr>
            </a:lvl5pPr>
          </a:lstStyle>
          <a:p>
            <a:pPr lvl="0"/>
            <a:r>
              <a:rPr lang="de-DE" dirty="0" err="1"/>
              <a:t>Topline</a:t>
            </a:r>
            <a:r>
              <a:rPr lang="de-DE" dirty="0"/>
              <a:t> (z.B. Kapitel/kurze Beschreibung), PT Sans kursiv, 14 </a:t>
            </a:r>
            <a:r>
              <a:rPr lang="de-DE" dirty="0" err="1"/>
              <a:t>pt</a:t>
            </a:r>
            <a:br>
              <a:rPr lang="de-DE" dirty="0"/>
            </a:br>
            <a:r>
              <a:rPr lang="de-DE" dirty="0"/>
              <a:t>Optional: Zweizeilig</a:t>
            </a:r>
          </a:p>
        </p:txBody>
      </p:sp>
    </p:spTree>
    <p:extLst>
      <p:ext uri="{BB962C8B-B14F-4D97-AF65-F5344CB8AC3E}">
        <p14:creationId xmlns:p14="http://schemas.microsoft.com/office/powerpoint/2010/main" val="352646156"/>
      </p:ext>
    </p:extLst>
  </p:cSld>
  <p:clrMapOvr>
    <a:masterClrMapping/>
  </p:clrMapOvr>
  <p:extLst>
    <p:ext uri="{DCECCB84-F9BA-43D5-87BE-67443E8EF086}">
      <p15:sldGuideLst xmlns:p15="http://schemas.microsoft.com/office/powerpoint/2012/main">
        <p15:guide id="1" pos="3749" userDrawn="1">
          <p15:clr>
            <a:srgbClr val="FBAE40"/>
          </p15:clr>
        </p15:guide>
        <p15:guide id="2" pos="3931" userDrawn="1">
          <p15:clr>
            <a:srgbClr val="FBAE40"/>
          </p15:clr>
        </p15:guide>
        <p15:guide id="3" orient="horz" pos="2341" userDrawn="1">
          <p15:clr>
            <a:srgbClr val="FBAE40"/>
          </p15:clr>
        </p15:guide>
        <p15:guide id="4" orient="horz" pos="2523" userDrawn="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Bild rechts klein">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6B219E32-A4A9-4B90-AB38-6F3A9D18DA3B}"/>
              </a:ext>
            </a:extLst>
          </p:cNvPr>
          <p:cNvGraphicFramePr>
            <a:graphicFrameLocks noChangeAspect="1"/>
          </p:cNvGraphicFramePr>
          <p:nvPr userDrawn="1">
            <p:custDataLst>
              <p:tags r:id="rId1"/>
            </p:custDataLst>
            <p:extLst>
              <p:ext uri="{D42A27DB-BD31-4B8C-83A1-F6EECF244321}">
                <p14:modId xmlns:p14="http://schemas.microsoft.com/office/powerpoint/2010/main" val="5763496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6" name="Objekt 5" hidden="1">
                        <a:extLst>
                          <a:ext uri="{FF2B5EF4-FFF2-40B4-BE49-F238E27FC236}">
                            <a16:creationId xmlns:a16="http://schemas.microsoft.com/office/drawing/2014/main" id="{6B219E32-A4A9-4B90-AB38-6F3A9D18DA3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Bildplatzhalter 8">
            <a:extLst>
              <a:ext uri="{FF2B5EF4-FFF2-40B4-BE49-F238E27FC236}">
                <a16:creationId xmlns:a16="http://schemas.microsoft.com/office/drawing/2014/main" id="{C87D907C-FB72-4E56-BF55-78BC21219C33}"/>
              </a:ext>
            </a:extLst>
          </p:cNvPr>
          <p:cNvSpPr>
            <a:spLocks noGrp="1"/>
          </p:cNvSpPr>
          <p:nvPr>
            <p:ph type="pic" sz="quarter" idx="13" hasCustomPrompt="1"/>
          </p:nvPr>
        </p:nvSpPr>
        <p:spPr bwMode="gray">
          <a:xfrm>
            <a:off x="6240463" y="1628775"/>
            <a:ext cx="5472112" cy="4464050"/>
          </a:xfrm>
          <a:solidFill>
            <a:schemeClr val="bg2"/>
          </a:solidFill>
        </p:spPr>
        <p:txBody>
          <a:bodyPr lIns="108014" tIns="36005"/>
          <a:lstStyle>
            <a:lvl1pPr>
              <a:defRPr sz="1600" b="0">
                <a:sym typeface="Wingdings" panose="05000000000000000000" pitchFamily="2" charset="2"/>
              </a:defRPr>
            </a:lvl1pPr>
          </a:lstStyle>
          <a:p>
            <a:r>
              <a:rPr lang="de-DE" noProof="0" dirty="0"/>
              <a:t>Hier geht’s zur Bilder-Bibliothek:  Schnellzugriff  </a:t>
            </a:r>
            <a:r>
              <a:rPr lang="de-DE" noProof="0" dirty="0" err="1"/>
              <a:t>PPT_Bilder_Vorlagen</a:t>
            </a:r>
            <a:endParaRPr lang="de-DE" noProof="0" dirty="0"/>
          </a:p>
        </p:txBody>
      </p:sp>
      <p:sp>
        <p:nvSpPr>
          <p:cNvPr id="2" name="Titel 1">
            <a:extLst>
              <a:ext uri="{FF2B5EF4-FFF2-40B4-BE49-F238E27FC236}">
                <a16:creationId xmlns:a16="http://schemas.microsoft.com/office/drawing/2014/main" id="{FA4F4229-E8C8-4CBE-A19F-F2E39F8B974D}"/>
              </a:ext>
            </a:extLst>
          </p:cNvPr>
          <p:cNvSpPr>
            <a:spLocks noGrp="1"/>
          </p:cNvSpPr>
          <p:nvPr>
            <p:ph type="title" hasCustomPrompt="1"/>
          </p:nvPr>
        </p:nvSpPr>
        <p:spPr bwMode="gray">
          <a:xfrm>
            <a:off x="479425" y="739916"/>
            <a:ext cx="11233150" cy="443198"/>
          </a:xfrm>
        </p:spPr>
        <p:txBody>
          <a:bodyPr vert="horz"/>
          <a:lstStyle>
            <a:lvl1pPr rtl="0">
              <a:defRPr/>
            </a:lvl1pPr>
          </a:lstStyle>
          <a:p>
            <a:r>
              <a:rPr lang="de-DE" noProof="0" dirty="0"/>
              <a:t>Headline, PT Sans, 32 </a:t>
            </a:r>
            <a:r>
              <a:rPr lang="de-DE" noProof="0" dirty="0" err="1"/>
              <a:t>pt</a:t>
            </a:r>
            <a:endParaRPr lang="de-DE" noProof="0" dirty="0"/>
          </a:p>
        </p:txBody>
      </p:sp>
      <p:sp>
        <p:nvSpPr>
          <p:cNvPr id="5" name="Textplatzhalter 4">
            <a:extLst>
              <a:ext uri="{FF2B5EF4-FFF2-40B4-BE49-F238E27FC236}">
                <a16:creationId xmlns:a16="http://schemas.microsoft.com/office/drawing/2014/main" id="{367A2C7B-B1CB-4A40-9B2B-4BBEED823514}"/>
              </a:ext>
            </a:extLst>
          </p:cNvPr>
          <p:cNvSpPr>
            <a:spLocks noGrp="1"/>
          </p:cNvSpPr>
          <p:nvPr>
            <p:ph type="body" sz="quarter" idx="11" hasCustomPrompt="1"/>
          </p:nvPr>
        </p:nvSpPr>
        <p:spPr bwMode="gray">
          <a:xfrm>
            <a:off x="479423" y="1628775"/>
            <a:ext cx="5472111" cy="4464050"/>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e-DE" noProof="0" dirty="0"/>
              <a:t>Sub-Headline, PT Sans fett, 20 </a:t>
            </a:r>
            <a:r>
              <a:rPr lang="de-DE" noProof="0" dirty="0" err="1"/>
              <a:t>pt</a:t>
            </a:r>
            <a:endParaRPr lang="de-DE" noProof="0" dirty="0"/>
          </a:p>
          <a:p>
            <a:pPr lvl="1"/>
            <a:r>
              <a:rPr lang="de-DE" noProof="0" dirty="0"/>
              <a:t>Copy, PT Sans, 16 </a:t>
            </a:r>
            <a:r>
              <a:rPr lang="de-DE" noProof="0" dirty="0" err="1"/>
              <a:t>pt</a:t>
            </a:r>
            <a:endParaRPr lang="de-DE" noProof="0" dirty="0"/>
          </a:p>
          <a:p>
            <a:pPr lvl="2"/>
            <a:r>
              <a:rPr lang="de-DE" noProof="0" dirty="0"/>
              <a:t>1. Ebene, PT Sans, 16 </a:t>
            </a:r>
            <a:r>
              <a:rPr lang="de-DE" noProof="0" dirty="0" err="1"/>
              <a:t>pt</a:t>
            </a:r>
            <a:endParaRPr lang="de-DE" noProof="0" dirty="0"/>
          </a:p>
          <a:p>
            <a:pPr lvl="3"/>
            <a:r>
              <a:rPr lang="de-DE" noProof="0" dirty="0"/>
              <a:t>2. Ebene, PT Sans, 16 </a:t>
            </a:r>
            <a:r>
              <a:rPr lang="de-DE" noProof="0" dirty="0" err="1"/>
              <a:t>pt</a:t>
            </a:r>
            <a:endParaRPr lang="de-DE" noProof="0" dirty="0"/>
          </a:p>
          <a:p>
            <a:pPr lvl="4"/>
            <a:r>
              <a:rPr lang="de-DE" noProof="0" dirty="0"/>
              <a:t>3. Ebene, PT Sans, 16 </a:t>
            </a:r>
            <a:r>
              <a:rPr lang="de-DE" noProof="0" dirty="0" err="1"/>
              <a:t>pt</a:t>
            </a:r>
            <a:endParaRPr lang="de-DE" noProof="0" dirty="0"/>
          </a:p>
          <a:p>
            <a:pPr lvl="5"/>
            <a:r>
              <a:rPr lang="de-DE" noProof="0" dirty="0"/>
              <a:t>4. Ebene, PT Sans, 16 </a:t>
            </a:r>
            <a:r>
              <a:rPr lang="de-DE" noProof="0" dirty="0" err="1"/>
              <a:t>pt</a:t>
            </a:r>
            <a:endParaRPr lang="de-DE" noProof="0" dirty="0"/>
          </a:p>
          <a:p>
            <a:pPr lvl="6"/>
            <a:r>
              <a:rPr lang="de-DE" noProof="0" dirty="0"/>
              <a:t>5. Ebene, PT Sans, 16 </a:t>
            </a:r>
            <a:r>
              <a:rPr lang="de-DE" noProof="0" dirty="0" err="1"/>
              <a:t>pt</a:t>
            </a:r>
            <a:endParaRPr lang="de-DE" noProof="0" dirty="0"/>
          </a:p>
          <a:p>
            <a:pPr lvl="7"/>
            <a:r>
              <a:rPr lang="de-DE" noProof="0" dirty="0"/>
              <a:t>6. Ebene, PT Sans, 16 </a:t>
            </a:r>
            <a:r>
              <a:rPr lang="de-DE" noProof="0" dirty="0" err="1"/>
              <a:t>pt</a:t>
            </a:r>
            <a:endParaRPr lang="de-DE" noProof="0" dirty="0"/>
          </a:p>
          <a:p>
            <a:pPr lvl="8"/>
            <a:r>
              <a:rPr lang="de-DE" noProof="0" dirty="0"/>
              <a:t>7. Ebene, PT Sans, 16 </a:t>
            </a:r>
            <a:r>
              <a:rPr lang="de-DE" noProof="0" dirty="0" err="1"/>
              <a:t>pt</a:t>
            </a:r>
            <a:endParaRPr lang="de-DE" noProof="0" dirty="0"/>
          </a:p>
        </p:txBody>
      </p:sp>
      <p:sp>
        <p:nvSpPr>
          <p:cNvPr id="8" name="Textplatzhalter 2">
            <a:extLst>
              <a:ext uri="{FF2B5EF4-FFF2-40B4-BE49-F238E27FC236}">
                <a16:creationId xmlns:a16="http://schemas.microsoft.com/office/drawing/2014/main" id="{C17A6F04-8A7D-4C5B-8D8E-5CABE03CD914}"/>
              </a:ext>
            </a:extLst>
          </p:cNvPr>
          <p:cNvSpPr>
            <a:spLocks noGrp="1"/>
          </p:cNvSpPr>
          <p:nvPr>
            <p:ph type="body" sz="quarter" idx="12" hasCustomPrompt="1"/>
          </p:nvPr>
        </p:nvSpPr>
        <p:spPr>
          <a:xfrm>
            <a:off x="479425" y="156260"/>
            <a:ext cx="11233150" cy="430887"/>
          </a:xfrm>
        </p:spPr>
        <p:txBody>
          <a:bodyPr anchor="b">
            <a:spAutoFit/>
          </a:bodyPr>
          <a:lstStyle>
            <a:lvl1pPr>
              <a:spcAft>
                <a:spcPts val="0"/>
              </a:spcAft>
              <a:defRPr sz="1400" b="0" i="1">
                <a:solidFill>
                  <a:schemeClr val="accent1"/>
                </a:solidFill>
              </a:defRPr>
            </a:lvl1pPr>
            <a:lvl2pPr>
              <a:defRPr sz="1400" b="0" i="1">
                <a:solidFill>
                  <a:schemeClr val="accent1"/>
                </a:solidFill>
              </a:defRPr>
            </a:lvl2pPr>
            <a:lvl3pPr>
              <a:defRPr sz="1400" b="0" i="1">
                <a:solidFill>
                  <a:schemeClr val="accent1"/>
                </a:solidFill>
              </a:defRPr>
            </a:lvl3pPr>
            <a:lvl4pPr>
              <a:defRPr sz="1400" b="0" i="1">
                <a:solidFill>
                  <a:schemeClr val="accent1"/>
                </a:solidFill>
              </a:defRPr>
            </a:lvl4pPr>
            <a:lvl5pPr>
              <a:defRPr sz="1400" b="0" i="1">
                <a:solidFill>
                  <a:schemeClr val="accent1"/>
                </a:solidFill>
              </a:defRPr>
            </a:lvl5pPr>
          </a:lstStyle>
          <a:p>
            <a:pPr lvl="0"/>
            <a:r>
              <a:rPr lang="de-DE" dirty="0" err="1"/>
              <a:t>Topline</a:t>
            </a:r>
            <a:r>
              <a:rPr lang="de-DE" dirty="0"/>
              <a:t> (z.B. Kapitel/kurze Beschreibung), PT Sans kursiv, 14 </a:t>
            </a:r>
            <a:r>
              <a:rPr lang="de-DE" dirty="0" err="1"/>
              <a:t>pt</a:t>
            </a:r>
            <a:br>
              <a:rPr lang="de-DE" dirty="0"/>
            </a:br>
            <a:r>
              <a:rPr lang="de-DE" dirty="0"/>
              <a:t>Optional: Zweizeilig</a:t>
            </a:r>
          </a:p>
        </p:txBody>
      </p:sp>
    </p:spTree>
    <p:extLst>
      <p:ext uri="{BB962C8B-B14F-4D97-AF65-F5344CB8AC3E}">
        <p14:creationId xmlns:p14="http://schemas.microsoft.com/office/powerpoint/2010/main" val="1967172038"/>
      </p:ext>
    </p:extLst>
  </p:cSld>
  <p:clrMapOvr>
    <a:masterClrMapping/>
  </p:clrMapOvr>
  <p:extLst>
    <p:ext uri="{DCECCB84-F9BA-43D5-87BE-67443E8EF086}">
      <p15:sldGuideLst xmlns:p15="http://schemas.microsoft.com/office/powerpoint/2012/main">
        <p15:guide id="1" pos="3749">
          <p15:clr>
            <a:srgbClr val="FBAE40"/>
          </p15:clr>
        </p15:guide>
        <p15:guide id="2" pos="3931">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Bild rechts groß">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66613608-BF8A-428D-AB6E-2601935B970B}"/>
              </a:ext>
            </a:extLst>
          </p:cNvPr>
          <p:cNvGraphicFramePr>
            <a:graphicFrameLocks noChangeAspect="1"/>
          </p:cNvGraphicFramePr>
          <p:nvPr userDrawn="1">
            <p:custDataLst>
              <p:tags r:id="rId1"/>
            </p:custDataLst>
            <p:extLst>
              <p:ext uri="{D42A27DB-BD31-4B8C-83A1-F6EECF244321}">
                <p14:modId xmlns:p14="http://schemas.microsoft.com/office/powerpoint/2010/main" val="11239268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6" name="Objekt 5" hidden="1">
                        <a:extLst>
                          <a:ext uri="{FF2B5EF4-FFF2-40B4-BE49-F238E27FC236}">
                            <a16:creationId xmlns:a16="http://schemas.microsoft.com/office/drawing/2014/main" id="{66613608-BF8A-428D-AB6E-2601935B970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Bildplatzhalter 8">
            <a:extLst>
              <a:ext uri="{FF2B5EF4-FFF2-40B4-BE49-F238E27FC236}">
                <a16:creationId xmlns:a16="http://schemas.microsoft.com/office/drawing/2014/main" id="{C87D907C-FB72-4E56-BF55-78BC21219C33}"/>
              </a:ext>
            </a:extLst>
          </p:cNvPr>
          <p:cNvSpPr>
            <a:spLocks noGrp="1"/>
          </p:cNvSpPr>
          <p:nvPr>
            <p:ph type="pic" sz="quarter" idx="13" hasCustomPrompt="1"/>
          </p:nvPr>
        </p:nvSpPr>
        <p:spPr bwMode="gray">
          <a:xfrm>
            <a:off x="6440232" y="211702"/>
            <a:ext cx="5551327" cy="6434592"/>
          </a:xfrm>
          <a:solidFill>
            <a:schemeClr val="bg2"/>
          </a:solidFill>
        </p:spPr>
        <p:txBody>
          <a:bodyPr lIns="108014" tIns="36005"/>
          <a:lstStyle>
            <a:lvl1pPr>
              <a:defRPr sz="1600" b="0">
                <a:sym typeface="Wingdings" panose="05000000000000000000" pitchFamily="2" charset="2"/>
              </a:defRPr>
            </a:lvl1pPr>
          </a:lstStyle>
          <a:p>
            <a:r>
              <a:rPr lang="de-DE" noProof="0" dirty="0"/>
              <a:t>Hier geht’s zur Bilder-Bibliothek:  Schnellzugriff  </a:t>
            </a:r>
            <a:r>
              <a:rPr lang="de-DE" noProof="0" dirty="0" err="1"/>
              <a:t>PPT_Bilder_Vorlagen</a:t>
            </a:r>
            <a:endParaRPr lang="de-DE" noProof="0" dirty="0"/>
          </a:p>
        </p:txBody>
      </p:sp>
      <p:sp>
        <p:nvSpPr>
          <p:cNvPr id="2" name="Titel 1">
            <a:extLst>
              <a:ext uri="{FF2B5EF4-FFF2-40B4-BE49-F238E27FC236}">
                <a16:creationId xmlns:a16="http://schemas.microsoft.com/office/drawing/2014/main" id="{FA4F4229-E8C8-4CBE-A19F-F2E39F8B974D}"/>
              </a:ext>
            </a:extLst>
          </p:cNvPr>
          <p:cNvSpPr>
            <a:spLocks noGrp="1"/>
          </p:cNvSpPr>
          <p:nvPr>
            <p:ph type="title" hasCustomPrompt="1"/>
          </p:nvPr>
        </p:nvSpPr>
        <p:spPr bwMode="gray">
          <a:xfrm>
            <a:off x="479425" y="739916"/>
            <a:ext cx="5472109" cy="886397"/>
          </a:xfrm>
        </p:spPr>
        <p:txBody>
          <a:bodyPr vert="horz">
            <a:noAutofit/>
          </a:bodyPr>
          <a:lstStyle>
            <a:lvl1pPr rtl="0">
              <a:defRPr/>
            </a:lvl1pPr>
          </a:lstStyle>
          <a:p>
            <a:r>
              <a:rPr lang="de-DE" noProof="0" dirty="0"/>
              <a:t>Headline, max. 2 Zeilen, </a:t>
            </a:r>
            <a:br>
              <a:rPr lang="de-DE" noProof="0" dirty="0"/>
            </a:br>
            <a:r>
              <a:rPr lang="de-DE" noProof="0" dirty="0"/>
              <a:t>PT Sans, 32 </a:t>
            </a:r>
            <a:r>
              <a:rPr lang="de-DE" noProof="0" dirty="0" err="1"/>
              <a:t>pt</a:t>
            </a:r>
            <a:endParaRPr lang="de-DE" noProof="0" dirty="0"/>
          </a:p>
        </p:txBody>
      </p:sp>
      <p:sp>
        <p:nvSpPr>
          <p:cNvPr id="5" name="Textplatzhalter 4">
            <a:extLst>
              <a:ext uri="{FF2B5EF4-FFF2-40B4-BE49-F238E27FC236}">
                <a16:creationId xmlns:a16="http://schemas.microsoft.com/office/drawing/2014/main" id="{367A2C7B-B1CB-4A40-9B2B-4BBEED823514}"/>
              </a:ext>
            </a:extLst>
          </p:cNvPr>
          <p:cNvSpPr>
            <a:spLocks noGrp="1"/>
          </p:cNvSpPr>
          <p:nvPr>
            <p:ph type="body" sz="quarter" idx="11" hasCustomPrompt="1"/>
          </p:nvPr>
        </p:nvSpPr>
        <p:spPr bwMode="gray">
          <a:xfrm>
            <a:off x="479425" y="2004369"/>
            <a:ext cx="5472111" cy="4088456"/>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e-DE" noProof="0" dirty="0"/>
              <a:t>Sub-Headline, PT Sans fett, 20 </a:t>
            </a:r>
            <a:r>
              <a:rPr lang="de-DE" noProof="0" dirty="0" err="1"/>
              <a:t>pt</a:t>
            </a:r>
            <a:endParaRPr lang="de-DE" noProof="0" dirty="0"/>
          </a:p>
          <a:p>
            <a:pPr lvl="1"/>
            <a:r>
              <a:rPr lang="de-DE" noProof="0" dirty="0"/>
              <a:t>Copy, PT Sans, 16 </a:t>
            </a:r>
            <a:r>
              <a:rPr lang="de-DE" noProof="0" dirty="0" err="1"/>
              <a:t>pt</a:t>
            </a:r>
            <a:endParaRPr lang="de-DE" noProof="0" dirty="0"/>
          </a:p>
          <a:p>
            <a:pPr lvl="2"/>
            <a:r>
              <a:rPr lang="de-DE" noProof="0" dirty="0"/>
              <a:t>1. Ebene, PT Sans, 16 </a:t>
            </a:r>
            <a:r>
              <a:rPr lang="de-DE" noProof="0" dirty="0" err="1"/>
              <a:t>pt</a:t>
            </a:r>
            <a:endParaRPr lang="de-DE" noProof="0" dirty="0"/>
          </a:p>
          <a:p>
            <a:pPr lvl="3"/>
            <a:r>
              <a:rPr lang="de-DE" noProof="0" dirty="0"/>
              <a:t>2. Ebene, PT Sans, 16 </a:t>
            </a:r>
            <a:r>
              <a:rPr lang="de-DE" noProof="0" dirty="0" err="1"/>
              <a:t>pt</a:t>
            </a:r>
            <a:endParaRPr lang="de-DE" noProof="0" dirty="0"/>
          </a:p>
          <a:p>
            <a:pPr lvl="4"/>
            <a:r>
              <a:rPr lang="de-DE" noProof="0" dirty="0"/>
              <a:t>3. Ebene, PT Sans, 16 </a:t>
            </a:r>
            <a:r>
              <a:rPr lang="de-DE" noProof="0" dirty="0" err="1"/>
              <a:t>pt</a:t>
            </a:r>
            <a:endParaRPr lang="de-DE" noProof="0" dirty="0"/>
          </a:p>
          <a:p>
            <a:pPr lvl="5"/>
            <a:r>
              <a:rPr lang="de-DE" noProof="0" dirty="0"/>
              <a:t>4. Ebene, PT Sans, 16 </a:t>
            </a:r>
            <a:r>
              <a:rPr lang="de-DE" noProof="0" dirty="0" err="1"/>
              <a:t>pt</a:t>
            </a:r>
            <a:endParaRPr lang="de-DE" noProof="0" dirty="0"/>
          </a:p>
          <a:p>
            <a:pPr lvl="6"/>
            <a:r>
              <a:rPr lang="de-DE" noProof="0" dirty="0"/>
              <a:t>5. Ebene, PT Sans, 16 </a:t>
            </a:r>
            <a:r>
              <a:rPr lang="de-DE" noProof="0" dirty="0" err="1"/>
              <a:t>pt</a:t>
            </a:r>
            <a:endParaRPr lang="de-DE" noProof="0" dirty="0"/>
          </a:p>
          <a:p>
            <a:pPr lvl="7"/>
            <a:r>
              <a:rPr lang="de-DE" noProof="0" dirty="0"/>
              <a:t>6. Ebene, PT Sans, 16 </a:t>
            </a:r>
            <a:r>
              <a:rPr lang="de-DE" noProof="0" dirty="0" err="1"/>
              <a:t>pt</a:t>
            </a:r>
            <a:endParaRPr lang="de-DE" noProof="0" dirty="0"/>
          </a:p>
          <a:p>
            <a:pPr lvl="8"/>
            <a:r>
              <a:rPr lang="de-DE" noProof="0" dirty="0"/>
              <a:t>7. Ebene, PT Sans, 16 </a:t>
            </a:r>
            <a:r>
              <a:rPr lang="de-DE" noProof="0" dirty="0" err="1"/>
              <a:t>pt</a:t>
            </a:r>
            <a:endParaRPr lang="de-DE" noProof="0" dirty="0"/>
          </a:p>
        </p:txBody>
      </p:sp>
      <p:cxnSp>
        <p:nvCxnSpPr>
          <p:cNvPr id="8" name="Gerader Verbinder 7">
            <a:extLst>
              <a:ext uri="{FF2B5EF4-FFF2-40B4-BE49-F238E27FC236}">
                <a16:creationId xmlns:a16="http://schemas.microsoft.com/office/drawing/2014/main" id="{FEEF9455-781B-4CF9-916F-894FF87162F8}"/>
              </a:ext>
            </a:extLst>
          </p:cNvPr>
          <p:cNvCxnSpPr>
            <a:cxnSpLocks/>
          </p:cNvCxnSpPr>
          <p:nvPr userDrawn="1"/>
        </p:nvCxnSpPr>
        <p:spPr bwMode="gray">
          <a:xfrm>
            <a:off x="479425" y="651016"/>
            <a:ext cx="5472113" cy="0"/>
          </a:xfrm>
          <a:prstGeom prst="line">
            <a:avLst/>
          </a:prstGeom>
          <a:noFill/>
          <a:ln w="6350" cap="flat">
            <a:solidFill>
              <a:srgbClr val="2F4D72"/>
            </a:solidFill>
            <a:prstDash val="solid"/>
            <a:miter/>
          </a:ln>
        </p:spPr>
      </p:cxnSp>
      <p:sp>
        <p:nvSpPr>
          <p:cNvPr id="10" name="Textfeld 9">
            <a:extLst>
              <a:ext uri="{FF2B5EF4-FFF2-40B4-BE49-F238E27FC236}">
                <a16:creationId xmlns:a16="http://schemas.microsoft.com/office/drawing/2014/main" id="{930178F5-9D96-41A2-A823-8F5177131B7B}"/>
              </a:ext>
            </a:extLst>
          </p:cNvPr>
          <p:cNvSpPr txBox="1"/>
          <p:nvPr userDrawn="1"/>
        </p:nvSpPr>
        <p:spPr bwMode="gray">
          <a:xfrm>
            <a:off x="479425" y="6418362"/>
            <a:ext cx="1705595" cy="153888"/>
          </a:xfrm>
          <a:prstGeom prst="rect">
            <a:avLst/>
          </a:prstGeom>
        </p:spPr>
        <p:txBody>
          <a:bodyPr wrap="none" lIns="0" tIns="0" rIns="0" bIns="0" anchor="ctr">
            <a:spAutoFit/>
          </a:bodyPr>
          <a:lstStyle>
            <a:defPPr>
              <a:defRPr lang="de-DE"/>
            </a:defPPr>
            <a:lvl1pPr>
              <a:spcBef>
                <a:spcPct val="0"/>
              </a:spcBef>
              <a:spcAft>
                <a:spcPts val="300"/>
              </a:spcAft>
              <a:defRPr sz="1000">
                <a:solidFill>
                  <a:srgbClr val="2F4D72"/>
                </a:solidFill>
                <a:latin typeface="PT Sans" panose="020B0503020203020204" pitchFamily="34" charset="0"/>
                <a:ea typeface="Roboto" panose="02000000000000000000" pitchFamily="2" charset="0"/>
                <a:cs typeface="Arial" panose="020B0604020202020204" pitchFamily="34" charset="-128"/>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lvl="0" rtl="0"/>
            <a:r>
              <a:rPr lang="de-DE" noProof="0" dirty="0"/>
              <a:t>Fonds Finanz. Mein Maklerpool</a:t>
            </a:r>
          </a:p>
        </p:txBody>
      </p:sp>
      <p:sp>
        <p:nvSpPr>
          <p:cNvPr id="12" name="Textplatzhalter 2">
            <a:extLst>
              <a:ext uri="{FF2B5EF4-FFF2-40B4-BE49-F238E27FC236}">
                <a16:creationId xmlns:a16="http://schemas.microsoft.com/office/drawing/2014/main" id="{9A099650-CDA9-49E5-AF8A-B436FE275382}"/>
              </a:ext>
            </a:extLst>
          </p:cNvPr>
          <p:cNvSpPr>
            <a:spLocks noGrp="1"/>
          </p:cNvSpPr>
          <p:nvPr>
            <p:ph type="body" sz="quarter" idx="12" hasCustomPrompt="1"/>
          </p:nvPr>
        </p:nvSpPr>
        <p:spPr>
          <a:xfrm>
            <a:off x="479425" y="156260"/>
            <a:ext cx="5472109" cy="430887"/>
          </a:xfrm>
        </p:spPr>
        <p:txBody>
          <a:bodyPr wrap="square" anchor="b">
            <a:spAutoFit/>
          </a:bodyPr>
          <a:lstStyle>
            <a:lvl1pPr>
              <a:spcAft>
                <a:spcPts val="0"/>
              </a:spcAft>
              <a:defRPr sz="1400" b="0" i="1">
                <a:solidFill>
                  <a:schemeClr val="accent1"/>
                </a:solidFill>
              </a:defRPr>
            </a:lvl1pPr>
            <a:lvl2pPr>
              <a:defRPr sz="1400" b="0" i="1">
                <a:solidFill>
                  <a:schemeClr val="accent1"/>
                </a:solidFill>
              </a:defRPr>
            </a:lvl2pPr>
            <a:lvl3pPr>
              <a:defRPr sz="1400" b="0" i="1">
                <a:solidFill>
                  <a:schemeClr val="accent1"/>
                </a:solidFill>
              </a:defRPr>
            </a:lvl3pPr>
            <a:lvl4pPr>
              <a:defRPr sz="1400" b="0" i="1">
                <a:solidFill>
                  <a:schemeClr val="accent1"/>
                </a:solidFill>
              </a:defRPr>
            </a:lvl4pPr>
            <a:lvl5pPr>
              <a:defRPr sz="1400" b="0" i="1">
                <a:solidFill>
                  <a:schemeClr val="accent1"/>
                </a:solidFill>
              </a:defRPr>
            </a:lvl5pPr>
          </a:lstStyle>
          <a:p>
            <a:pPr lvl="0"/>
            <a:r>
              <a:rPr lang="de-DE" dirty="0" err="1"/>
              <a:t>Topline</a:t>
            </a:r>
            <a:r>
              <a:rPr lang="de-DE" dirty="0"/>
              <a:t> (z.B. Kapitel/kurze Beschreibung), PT Sans kursiv, 14 </a:t>
            </a:r>
            <a:r>
              <a:rPr lang="de-DE" dirty="0" err="1"/>
              <a:t>pt</a:t>
            </a:r>
            <a:br>
              <a:rPr lang="de-DE" dirty="0"/>
            </a:br>
            <a:r>
              <a:rPr lang="de-DE" dirty="0"/>
              <a:t>Optional: Zweizeilig</a:t>
            </a:r>
          </a:p>
        </p:txBody>
      </p:sp>
    </p:spTree>
    <p:extLst>
      <p:ext uri="{BB962C8B-B14F-4D97-AF65-F5344CB8AC3E}">
        <p14:creationId xmlns:p14="http://schemas.microsoft.com/office/powerpoint/2010/main" val="3810044741"/>
      </p:ext>
    </p:extLst>
  </p:cSld>
  <p:clrMapOvr>
    <a:masterClrMapping/>
  </p:clrMapOvr>
  <p:extLst>
    <p:ext uri="{DCECCB84-F9BA-43D5-87BE-67443E8EF086}">
      <p15:sldGuideLst xmlns:p15="http://schemas.microsoft.com/office/powerpoint/2012/main">
        <p15:guide id="1" pos="3749">
          <p15:clr>
            <a:srgbClr val="FBAE40"/>
          </p15:clr>
        </p15:guide>
        <p15:guide id="2" pos="3931">
          <p15:clr>
            <a:srgbClr val="FBAE40"/>
          </p15:clr>
        </p15:guide>
        <p15:guide id="3" orient="horz" pos="1253" userDrawn="1">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Bild links klein">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D6865E4C-C203-442C-A09D-E38161EC27B1}"/>
              </a:ext>
            </a:extLst>
          </p:cNvPr>
          <p:cNvGraphicFramePr>
            <a:graphicFrameLocks noChangeAspect="1"/>
          </p:cNvGraphicFramePr>
          <p:nvPr userDrawn="1">
            <p:custDataLst>
              <p:tags r:id="rId1"/>
            </p:custDataLst>
            <p:extLst>
              <p:ext uri="{D42A27DB-BD31-4B8C-83A1-F6EECF244321}">
                <p14:modId xmlns:p14="http://schemas.microsoft.com/office/powerpoint/2010/main" val="21823245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6" name="Objekt 5" hidden="1">
                        <a:extLst>
                          <a:ext uri="{FF2B5EF4-FFF2-40B4-BE49-F238E27FC236}">
                            <a16:creationId xmlns:a16="http://schemas.microsoft.com/office/drawing/2014/main" id="{D6865E4C-C203-442C-A09D-E38161EC27B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Bildplatzhalter 8">
            <a:extLst>
              <a:ext uri="{FF2B5EF4-FFF2-40B4-BE49-F238E27FC236}">
                <a16:creationId xmlns:a16="http://schemas.microsoft.com/office/drawing/2014/main" id="{C87D907C-FB72-4E56-BF55-78BC21219C33}"/>
              </a:ext>
            </a:extLst>
          </p:cNvPr>
          <p:cNvSpPr>
            <a:spLocks noGrp="1"/>
          </p:cNvSpPr>
          <p:nvPr>
            <p:ph type="pic" sz="quarter" idx="13" hasCustomPrompt="1"/>
          </p:nvPr>
        </p:nvSpPr>
        <p:spPr bwMode="gray">
          <a:xfrm>
            <a:off x="479425" y="1628775"/>
            <a:ext cx="5472112" cy="4464050"/>
          </a:xfrm>
          <a:solidFill>
            <a:schemeClr val="bg2"/>
          </a:solidFill>
        </p:spPr>
        <p:txBody>
          <a:bodyPr lIns="108014" tIns="36005"/>
          <a:lstStyle>
            <a:lvl1pPr>
              <a:defRPr sz="1600" b="0">
                <a:sym typeface="Wingdings" panose="05000000000000000000" pitchFamily="2" charset="2"/>
              </a:defRPr>
            </a:lvl1pPr>
          </a:lstStyle>
          <a:p>
            <a:r>
              <a:rPr lang="de-DE" noProof="0" dirty="0"/>
              <a:t>Hier geht’s zur Bilder-Bibliothek:  Schnellzugriff  </a:t>
            </a:r>
            <a:r>
              <a:rPr lang="de-DE" noProof="0" dirty="0" err="1"/>
              <a:t>PPT_Bilder_Vorlagen</a:t>
            </a:r>
            <a:endParaRPr lang="de-DE" noProof="0" dirty="0"/>
          </a:p>
        </p:txBody>
      </p:sp>
      <p:sp>
        <p:nvSpPr>
          <p:cNvPr id="2" name="Titel 1">
            <a:extLst>
              <a:ext uri="{FF2B5EF4-FFF2-40B4-BE49-F238E27FC236}">
                <a16:creationId xmlns:a16="http://schemas.microsoft.com/office/drawing/2014/main" id="{FA4F4229-E8C8-4CBE-A19F-F2E39F8B974D}"/>
              </a:ext>
            </a:extLst>
          </p:cNvPr>
          <p:cNvSpPr>
            <a:spLocks noGrp="1"/>
          </p:cNvSpPr>
          <p:nvPr>
            <p:ph type="title" hasCustomPrompt="1"/>
          </p:nvPr>
        </p:nvSpPr>
        <p:spPr bwMode="gray">
          <a:xfrm>
            <a:off x="479425" y="739916"/>
            <a:ext cx="11233150" cy="443198"/>
          </a:xfrm>
        </p:spPr>
        <p:txBody>
          <a:bodyPr vert="horz"/>
          <a:lstStyle>
            <a:lvl1pPr rtl="0">
              <a:defRPr/>
            </a:lvl1pPr>
          </a:lstStyle>
          <a:p>
            <a:r>
              <a:rPr lang="de-DE" noProof="0"/>
              <a:t>Headline, PT Sans, 32 pt</a:t>
            </a:r>
            <a:endParaRPr lang="de-DE" noProof="0" dirty="0"/>
          </a:p>
        </p:txBody>
      </p:sp>
      <p:sp>
        <p:nvSpPr>
          <p:cNvPr id="5" name="Textplatzhalter 4">
            <a:extLst>
              <a:ext uri="{FF2B5EF4-FFF2-40B4-BE49-F238E27FC236}">
                <a16:creationId xmlns:a16="http://schemas.microsoft.com/office/drawing/2014/main" id="{367A2C7B-B1CB-4A40-9B2B-4BBEED823514}"/>
              </a:ext>
            </a:extLst>
          </p:cNvPr>
          <p:cNvSpPr>
            <a:spLocks noGrp="1"/>
          </p:cNvSpPr>
          <p:nvPr>
            <p:ph type="body" sz="quarter" idx="11" hasCustomPrompt="1"/>
          </p:nvPr>
        </p:nvSpPr>
        <p:spPr bwMode="gray">
          <a:xfrm>
            <a:off x="6240464" y="1628775"/>
            <a:ext cx="5472111" cy="4464050"/>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e-DE" noProof="0" dirty="0"/>
              <a:t>Sub-Headline, PT Sans fett, 20 </a:t>
            </a:r>
            <a:r>
              <a:rPr lang="de-DE" noProof="0" dirty="0" err="1"/>
              <a:t>pt</a:t>
            </a:r>
            <a:endParaRPr lang="de-DE" noProof="0" dirty="0"/>
          </a:p>
          <a:p>
            <a:pPr lvl="1"/>
            <a:r>
              <a:rPr lang="de-DE" noProof="0" dirty="0"/>
              <a:t>Copy, PT Sans, 16 </a:t>
            </a:r>
            <a:r>
              <a:rPr lang="de-DE" noProof="0" dirty="0" err="1"/>
              <a:t>pt</a:t>
            </a:r>
            <a:endParaRPr lang="de-DE" noProof="0" dirty="0"/>
          </a:p>
          <a:p>
            <a:pPr lvl="2"/>
            <a:r>
              <a:rPr lang="de-DE" noProof="0" dirty="0"/>
              <a:t>1. Ebene, PT Sans, 16 </a:t>
            </a:r>
            <a:r>
              <a:rPr lang="de-DE" noProof="0" dirty="0" err="1"/>
              <a:t>pt</a:t>
            </a:r>
            <a:endParaRPr lang="de-DE" noProof="0" dirty="0"/>
          </a:p>
          <a:p>
            <a:pPr lvl="3"/>
            <a:r>
              <a:rPr lang="de-DE" noProof="0" dirty="0"/>
              <a:t>2. Ebene, PT Sans, 16 </a:t>
            </a:r>
            <a:r>
              <a:rPr lang="de-DE" noProof="0" dirty="0" err="1"/>
              <a:t>pt</a:t>
            </a:r>
            <a:endParaRPr lang="de-DE" noProof="0" dirty="0"/>
          </a:p>
          <a:p>
            <a:pPr lvl="4"/>
            <a:r>
              <a:rPr lang="de-DE" noProof="0" dirty="0"/>
              <a:t>3. Ebene, PT Sans, 16 </a:t>
            </a:r>
            <a:r>
              <a:rPr lang="de-DE" noProof="0" dirty="0" err="1"/>
              <a:t>pt</a:t>
            </a:r>
            <a:endParaRPr lang="de-DE" noProof="0" dirty="0"/>
          </a:p>
          <a:p>
            <a:pPr lvl="5"/>
            <a:r>
              <a:rPr lang="de-DE" noProof="0" dirty="0"/>
              <a:t>4. Ebene, PT Sans, 16 </a:t>
            </a:r>
            <a:r>
              <a:rPr lang="de-DE" noProof="0" dirty="0" err="1"/>
              <a:t>pt</a:t>
            </a:r>
            <a:endParaRPr lang="de-DE" noProof="0" dirty="0"/>
          </a:p>
          <a:p>
            <a:pPr lvl="6"/>
            <a:r>
              <a:rPr lang="de-DE" noProof="0" dirty="0"/>
              <a:t>5. Ebene, PT Sans, 16 </a:t>
            </a:r>
            <a:r>
              <a:rPr lang="de-DE" noProof="0" dirty="0" err="1"/>
              <a:t>pt</a:t>
            </a:r>
            <a:endParaRPr lang="de-DE" noProof="0" dirty="0"/>
          </a:p>
          <a:p>
            <a:pPr lvl="7"/>
            <a:r>
              <a:rPr lang="de-DE" noProof="0" dirty="0"/>
              <a:t>6. Ebene, PT Sans, 16 </a:t>
            </a:r>
            <a:r>
              <a:rPr lang="de-DE" noProof="0" dirty="0" err="1"/>
              <a:t>pt</a:t>
            </a:r>
            <a:endParaRPr lang="de-DE" noProof="0" dirty="0"/>
          </a:p>
          <a:p>
            <a:pPr lvl="8"/>
            <a:r>
              <a:rPr lang="de-DE" noProof="0" dirty="0"/>
              <a:t>7. Ebene, PT Sans, 16 </a:t>
            </a:r>
            <a:r>
              <a:rPr lang="de-DE" noProof="0" dirty="0" err="1"/>
              <a:t>pt</a:t>
            </a:r>
            <a:endParaRPr lang="de-DE" noProof="0" dirty="0"/>
          </a:p>
        </p:txBody>
      </p:sp>
      <p:sp>
        <p:nvSpPr>
          <p:cNvPr id="8" name="Textplatzhalter 2">
            <a:extLst>
              <a:ext uri="{FF2B5EF4-FFF2-40B4-BE49-F238E27FC236}">
                <a16:creationId xmlns:a16="http://schemas.microsoft.com/office/drawing/2014/main" id="{72B43CB5-80C1-4207-BE73-CF0AFCAEF0A2}"/>
              </a:ext>
            </a:extLst>
          </p:cNvPr>
          <p:cNvSpPr>
            <a:spLocks noGrp="1"/>
          </p:cNvSpPr>
          <p:nvPr>
            <p:ph type="body" sz="quarter" idx="12" hasCustomPrompt="1"/>
          </p:nvPr>
        </p:nvSpPr>
        <p:spPr>
          <a:xfrm>
            <a:off x="479425" y="156260"/>
            <a:ext cx="11233150" cy="430887"/>
          </a:xfrm>
        </p:spPr>
        <p:txBody>
          <a:bodyPr anchor="b">
            <a:spAutoFit/>
          </a:bodyPr>
          <a:lstStyle>
            <a:lvl1pPr>
              <a:spcAft>
                <a:spcPts val="0"/>
              </a:spcAft>
              <a:defRPr sz="1400" b="0" i="1">
                <a:solidFill>
                  <a:schemeClr val="accent1"/>
                </a:solidFill>
              </a:defRPr>
            </a:lvl1pPr>
            <a:lvl2pPr>
              <a:defRPr sz="1400" b="0" i="1">
                <a:solidFill>
                  <a:schemeClr val="accent1"/>
                </a:solidFill>
              </a:defRPr>
            </a:lvl2pPr>
            <a:lvl3pPr>
              <a:defRPr sz="1400" b="0" i="1">
                <a:solidFill>
                  <a:schemeClr val="accent1"/>
                </a:solidFill>
              </a:defRPr>
            </a:lvl3pPr>
            <a:lvl4pPr>
              <a:defRPr sz="1400" b="0" i="1">
                <a:solidFill>
                  <a:schemeClr val="accent1"/>
                </a:solidFill>
              </a:defRPr>
            </a:lvl4pPr>
            <a:lvl5pPr>
              <a:defRPr sz="1400" b="0" i="1">
                <a:solidFill>
                  <a:schemeClr val="accent1"/>
                </a:solidFill>
              </a:defRPr>
            </a:lvl5pPr>
          </a:lstStyle>
          <a:p>
            <a:pPr lvl="0"/>
            <a:r>
              <a:rPr lang="de-DE" dirty="0" err="1"/>
              <a:t>Topline</a:t>
            </a:r>
            <a:r>
              <a:rPr lang="de-DE" dirty="0"/>
              <a:t> (z.B. Kapitel/kurze Beschreibung), PT Sans kursiv, 14 </a:t>
            </a:r>
            <a:r>
              <a:rPr lang="de-DE" dirty="0" err="1"/>
              <a:t>pt</a:t>
            </a:r>
            <a:br>
              <a:rPr lang="de-DE" dirty="0"/>
            </a:br>
            <a:r>
              <a:rPr lang="de-DE" dirty="0"/>
              <a:t>Optional: Zweizeilig</a:t>
            </a:r>
          </a:p>
        </p:txBody>
      </p:sp>
    </p:spTree>
    <p:extLst>
      <p:ext uri="{BB962C8B-B14F-4D97-AF65-F5344CB8AC3E}">
        <p14:creationId xmlns:p14="http://schemas.microsoft.com/office/powerpoint/2010/main" val="809040355"/>
      </p:ext>
    </p:extLst>
  </p:cSld>
  <p:clrMapOvr>
    <a:masterClrMapping/>
  </p:clrMapOvr>
  <p:extLst>
    <p:ext uri="{DCECCB84-F9BA-43D5-87BE-67443E8EF086}">
      <p15:sldGuideLst xmlns:p15="http://schemas.microsoft.com/office/powerpoint/2012/main">
        <p15:guide id="1" pos="3749">
          <p15:clr>
            <a:srgbClr val="FBAE40"/>
          </p15:clr>
        </p15:guide>
        <p15:guide id="2" pos="3931">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Bild links groß">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7AEA9E99-8C39-4BCD-BF1E-F1FC24387735}"/>
              </a:ext>
            </a:extLst>
          </p:cNvPr>
          <p:cNvGraphicFramePr>
            <a:graphicFrameLocks noChangeAspect="1"/>
          </p:cNvGraphicFramePr>
          <p:nvPr userDrawn="1">
            <p:custDataLst>
              <p:tags r:id="rId1"/>
            </p:custDataLst>
            <p:extLst>
              <p:ext uri="{D42A27DB-BD31-4B8C-83A1-F6EECF244321}">
                <p14:modId xmlns:p14="http://schemas.microsoft.com/office/powerpoint/2010/main" val="23159613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6" name="Objekt 5" hidden="1">
                        <a:extLst>
                          <a:ext uri="{FF2B5EF4-FFF2-40B4-BE49-F238E27FC236}">
                            <a16:creationId xmlns:a16="http://schemas.microsoft.com/office/drawing/2014/main" id="{7AEA9E99-8C39-4BCD-BF1E-F1FC2438773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Bildplatzhalter 8">
            <a:extLst>
              <a:ext uri="{FF2B5EF4-FFF2-40B4-BE49-F238E27FC236}">
                <a16:creationId xmlns:a16="http://schemas.microsoft.com/office/drawing/2014/main" id="{C87D907C-FB72-4E56-BF55-78BC21219C33}"/>
              </a:ext>
            </a:extLst>
          </p:cNvPr>
          <p:cNvSpPr>
            <a:spLocks noGrp="1"/>
          </p:cNvSpPr>
          <p:nvPr>
            <p:ph type="pic" sz="quarter" idx="13" hasCustomPrompt="1"/>
          </p:nvPr>
        </p:nvSpPr>
        <p:spPr bwMode="gray">
          <a:xfrm>
            <a:off x="200439" y="211702"/>
            <a:ext cx="5551327" cy="6434592"/>
          </a:xfrm>
          <a:solidFill>
            <a:schemeClr val="bg2"/>
          </a:solidFill>
        </p:spPr>
        <p:txBody>
          <a:bodyPr lIns="108014" tIns="36005"/>
          <a:lstStyle>
            <a:lvl1pPr>
              <a:spcAft>
                <a:spcPts val="0"/>
              </a:spcAft>
              <a:defRPr sz="1600" b="0">
                <a:sym typeface="Wingdings" panose="05000000000000000000" pitchFamily="2" charset="2"/>
              </a:defRPr>
            </a:lvl1pPr>
          </a:lstStyle>
          <a:p>
            <a:r>
              <a:rPr lang="de-DE" noProof="0" dirty="0"/>
              <a:t>Hier geht’s zur Bilder-Bibliothek:  </a:t>
            </a:r>
            <a:br>
              <a:rPr lang="de-DE" noProof="0" dirty="0"/>
            </a:br>
            <a:r>
              <a:rPr lang="de-DE" noProof="0" dirty="0"/>
              <a:t>Schnellzugriff  </a:t>
            </a:r>
            <a:r>
              <a:rPr lang="de-DE" noProof="0" dirty="0" err="1"/>
              <a:t>PPT_Bilder_Vorlagen</a:t>
            </a:r>
            <a:endParaRPr lang="de-DE" noProof="0" dirty="0"/>
          </a:p>
        </p:txBody>
      </p:sp>
      <p:sp>
        <p:nvSpPr>
          <p:cNvPr id="2" name="Titel 1">
            <a:extLst>
              <a:ext uri="{FF2B5EF4-FFF2-40B4-BE49-F238E27FC236}">
                <a16:creationId xmlns:a16="http://schemas.microsoft.com/office/drawing/2014/main" id="{FA4F4229-E8C8-4CBE-A19F-F2E39F8B974D}"/>
              </a:ext>
            </a:extLst>
          </p:cNvPr>
          <p:cNvSpPr>
            <a:spLocks noGrp="1"/>
          </p:cNvSpPr>
          <p:nvPr>
            <p:ph type="title" hasCustomPrompt="1"/>
          </p:nvPr>
        </p:nvSpPr>
        <p:spPr bwMode="gray">
          <a:xfrm>
            <a:off x="6240463" y="739916"/>
            <a:ext cx="5472109" cy="886397"/>
          </a:xfrm>
        </p:spPr>
        <p:txBody>
          <a:bodyPr vert="horz">
            <a:noAutofit/>
          </a:bodyPr>
          <a:lstStyle>
            <a:lvl1pPr rtl="0">
              <a:defRPr/>
            </a:lvl1pPr>
          </a:lstStyle>
          <a:p>
            <a:r>
              <a:rPr lang="de-DE" noProof="0" dirty="0"/>
              <a:t>Headline, max. 2 Zeilen, </a:t>
            </a:r>
            <a:br>
              <a:rPr lang="de-DE" noProof="0" dirty="0"/>
            </a:br>
            <a:r>
              <a:rPr lang="de-DE" noProof="0" dirty="0"/>
              <a:t>PT Sans, 32 </a:t>
            </a:r>
            <a:r>
              <a:rPr lang="de-DE" noProof="0" dirty="0" err="1"/>
              <a:t>pt</a:t>
            </a:r>
            <a:endParaRPr lang="de-DE" noProof="0" dirty="0"/>
          </a:p>
        </p:txBody>
      </p:sp>
      <p:sp>
        <p:nvSpPr>
          <p:cNvPr id="5" name="Textplatzhalter 4">
            <a:extLst>
              <a:ext uri="{FF2B5EF4-FFF2-40B4-BE49-F238E27FC236}">
                <a16:creationId xmlns:a16="http://schemas.microsoft.com/office/drawing/2014/main" id="{367A2C7B-B1CB-4A40-9B2B-4BBEED823514}"/>
              </a:ext>
            </a:extLst>
          </p:cNvPr>
          <p:cNvSpPr>
            <a:spLocks noGrp="1"/>
          </p:cNvSpPr>
          <p:nvPr>
            <p:ph type="body" sz="quarter" idx="11" hasCustomPrompt="1"/>
          </p:nvPr>
        </p:nvSpPr>
        <p:spPr bwMode="gray">
          <a:xfrm>
            <a:off x="6240463" y="2004369"/>
            <a:ext cx="5472111" cy="4088456"/>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e-DE" noProof="0" dirty="0"/>
              <a:t>Sub-Headline, PT Sans fett, 20 </a:t>
            </a:r>
            <a:r>
              <a:rPr lang="de-DE" noProof="0" dirty="0" err="1"/>
              <a:t>pt</a:t>
            </a:r>
            <a:endParaRPr lang="de-DE" noProof="0" dirty="0"/>
          </a:p>
          <a:p>
            <a:pPr lvl="1"/>
            <a:r>
              <a:rPr lang="de-DE" noProof="0" dirty="0"/>
              <a:t>Copy, PT Sans, 16 </a:t>
            </a:r>
            <a:r>
              <a:rPr lang="de-DE" noProof="0" dirty="0" err="1"/>
              <a:t>pt</a:t>
            </a:r>
            <a:endParaRPr lang="de-DE" noProof="0" dirty="0"/>
          </a:p>
          <a:p>
            <a:pPr lvl="2"/>
            <a:r>
              <a:rPr lang="de-DE" noProof="0" dirty="0"/>
              <a:t>1. Ebene, PT Sans, 16 </a:t>
            </a:r>
            <a:r>
              <a:rPr lang="de-DE" noProof="0" dirty="0" err="1"/>
              <a:t>pt</a:t>
            </a:r>
            <a:endParaRPr lang="de-DE" noProof="0" dirty="0"/>
          </a:p>
          <a:p>
            <a:pPr lvl="3"/>
            <a:r>
              <a:rPr lang="de-DE" noProof="0" dirty="0"/>
              <a:t>2. Ebene, PT Sans, 16 </a:t>
            </a:r>
            <a:r>
              <a:rPr lang="de-DE" noProof="0" dirty="0" err="1"/>
              <a:t>pt</a:t>
            </a:r>
            <a:endParaRPr lang="de-DE" noProof="0" dirty="0"/>
          </a:p>
          <a:p>
            <a:pPr lvl="4"/>
            <a:r>
              <a:rPr lang="de-DE" noProof="0" dirty="0"/>
              <a:t>3. Ebene, PT Sans, 16 </a:t>
            </a:r>
            <a:r>
              <a:rPr lang="de-DE" noProof="0" dirty="0" err="1"/>
              <a:t>pt</a:t>
            </a:r>
            <a:endParaRPr lang="de-DE" noProof="0" dirty="0"/>
          </a:p>
          <a:p>
            <a:pPr lvl="5"/>
            <a:r>
              <a:rPr lang="de-DE" noProof="0" dirty="0"/>
              <a:t>4. Ebene, PT Sans, 16 </a:t>
            </a:r>
            <a:r>
              <a:rPr lang="de-DE" noProof="0" dirty="0" err="1"/>
              <a:t>pt</a:t>
            </a:r>
            <a:endParaRPr lang="de-DE" noProof="0" dirty="0"/>
          </a:p>
          <a:p>
            <a:pPr lvl="6"/>
            <a:r>
              <a:rPr lang="de-DE" noProof="0" dirty="0"/>
              <a:t>5. Ebene, PT Sans, 16 </a:t>
            </a:r>
            <a:r>
              <a:rPr lang="de-DE" noProof="0" dirty="0" err="1"/>
              <a:t>pt</a:t>
            </a:r>
            <a:endParaRPr lang="de-DE" noProof="0" dirty="0"/>
          </a:p>
          <a:p>
            <a:pPr lvl="7"/>
            <a:r>
              <a:rPr lang="de-DE" noProof="0" dirty="0"/>
              <a:t>6. Ebene, PT Sans, 16 </a:t>
            </a:r>
            <a:r>
              <a:rPr lang="de-DE" noProof="0" dirty="0" err="1"/>
              <a:t>pt</a:t>
            </a:r>
            <a:endParaRPr lang="de-DE" noProof="0" dirty="0"/>
          </a:p>
          <a:p>
            <a:pPr lvl="8"/>
            <a:r>
              <a:rPr lang="de-DE" noProof="0" dirty="0"/>
              <a:t>7. Ebene, PT Sans, 16 </a:t>
            </a:r>
            <a:r>
              <a:rPr lang="de-DE" noProof="0" dirty="0" err="1"/>
              <a:t>pt</a:t>
            </a:r>
            <a:endParaRPr lang="de-DE" noProof="0" dirty="0"/>
          </a:p>
        </p:txBody>
      </p:sp>
      <p:cxnSp>
        <p:nvCxnSpPr>
          <p:cNvPr id="8" name="Gerader Verbinder 7">
            <a:extLst>
              <a:ext uri="{FF2B5EF4-FFF2-40B4-BE49-F238E27FC236}">
                <a16:creationId xmlns:a16="http://schemas.microsoft.com/office/drawing/2014/main" id="{FEEF9455-781B-4CF9-916F-894FF87162F8}"/>
              </a:ext>
            </a:extLst>
          </p:cNvPr>
          <p:cNvCxnSpPr>
            <a:cxnSpLocks/>
          </p:cNvCxnSpPr>
          <p:nvPr userDrawn="1"/>
        </p:nvCxnSpPr>
        <p:spPr bwMode="gray">
          <a:xfrm>
            <a:off x="6240463" y="651016"/>
            <a:ext cx="5472113" cy="0"/>
          </a:xfrm>
          <a:prstGeom prst="line">
            <a:avLst/>
          </a:prstGeom>
          <a:noFill/>
          <a:ln w="6350" cap="flat">
            <a:solidFill>
              <a:srgbClr val="2F4D72"/>
            </a:solidFill>
            <a:prstDash val="solid"/>
            <a:miter/>
          </a:ln>
        </p:spPr>
      </p:cxnSp>
      <p:sp>
        <p:nvSpPr>
          <p:cNvPr id="13" name="Textfeld 12">
            <a:extLst>
              <a:ext uri="{FF2B5EF4-FFF2-40B4-BE49-F238E27FC236}">
                <a16:creationId xmlns:a16="http://schemas.microsoft.com/office/drawing/2014/main" id="{275ED778-F2F8-4622-906C-9805DB881A0C}"/>
              </a:ext>
            </a:extLst>
          </p:cNvPr>
          <p:cNvSpPr txBox="1"/>
          <p:nvPr userDrawn="1"/>
        </p:nvSpPr>
        <p:spPr bwMode="gray">
          <a:xfrm>
            <a:off x="11252200" y="6418362"/>
            <a:ext cx="460375" cy="153888"/>
          </a:xfrm>
          <a:prstGeom prst="rect">
            <a:avLst/>
          </a:prstGeom>
        </p:spPr>
        <p:txBody>
          <a:bodyPr wrap="square" lIns="0" tIns="0" rIns="0" bIns="0" anchor="ctr">
            <a:spAutoFit/>
          </a:bodyPr>
          <a:lstStyle>
            <a:defPPr>
              <a:defRPr lang="de-DE"/>
            </a:defPPr>
            <a:lvl1pPr>
              <a:spcBef>
                <a:spcPct val="0"/>
              </a:spcBef>
              <a:spcAft>
                <a:spcPts val="300"/>
              </a:spcAft>
              <a:defRPr sz="1000">
                <a:solidFill>
                  <a:srgbClr val="2F4D72"/>
                </a:solidFill>
                <a:latin typeface="PT Sans" panose="020B0503020203020204" pitchFamily="34" charset="0"/>
                <a:ea typeface="Roboto" panose="02000000000000000000" pitchFamily="2" charset="0"/>
                <a:cs typeface="Arial" panose="020B0604020202020204" pitchFamily="34" charset="-128"/>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lvl="0" algn="r" rtl="0"/>
            <a:fld id="{9CABAB34-EED9-4944-9833-2D0472E7C8C0}" type="slidenum">
              <a:rPr lang="de-DE" noProof="0" smtClean="0"/>
              <a:pPr lvl="0" algn="r" rtl="0"/>
              <a:t>‹Nr.›</a:t>
            </a:fld>
            <a:endParaRPr lang="de-DE" noProof="0" dirty="0"/>
          </a:p>
        </p:txBody>
      </p:sp>
      <p:sp>
        <p:nvSpPr>
          <p:cNvPr id="11" name="Textplatzhalter 2">
            <a:extLst>
              <a:ext uri="{FF2B5EF4-FFF2-40B4-BE49-F238E27FC236}">
                <a16:creationId xmlns:a16="http://schemas.microsoft.com/office/drawing/2014/main" id="{0515820E-F857-4B19-93B7-9FDE3F64BB97}"/>
              </a:ext>
            </a:extLst>
          </p:cNvPr>
          <p:cNvSpPr>
            <a:spLocks noGrp="1"/>
          </p:cNvSpPr>
          <p:nvPr>
            <p:ph type="body" sz="quarter" idx="12" hasCustomPrompt="1"/>
          </p:nvPr>
        </p:nvSpPr>
        <p:spPr>
          <a:xfrm>
            <a:off x="6240461" y="156260"/>
            <a:ext cx="5472114" cy="430887"/>
          </a:xfrm>
        </p:spPr>
        <p:txBody>
          <a:bodyPr wrap="square" anchor="b">
            <a:spAutoFit/>
          </a:bodyPr>
          <a:lstStyle>
            <a:lvl1pPr>
              <a:spcAft>
                <a:spcPts val="0"/>
              </a:spcAft>
              <a:defRPr sz="1400" b="0" i="1">
                <a:solidFill>
                  <a:schemeClr val="accent1"/>
                </a:solidFill>
              </a:defRPr>
            </a:lvl1pPr>
            <a:lvl2pPr>
              <a:defRPr sz="1400" b="0" i="1">
                <a:solidFill>
                  <a:schemeClr val="accent1"/>
                </a:solidFill>
              </a:defRPr>
            </a:lvl2pPr>
            <a:lvl3pPr>
              <a:defRPr sz="1400" b="0" i="1">
                <a:solidFill>
                  <a:schemeClr val="accent1"/>
                </a:solidFill>
              </a:defRPr>
            </a:lvl3pPr>
            <a:lvl4pPr>
              <a:defRPr sz="1400" b="0" i="1">
                <a:solidFill>
                  <a:schemeClr val="accent1"/>
                </a:solidFill>
              </a:defRPr>
            </a:lvl4pPr>
            <a:lvl5pPr>
              <a:defRPr sz="1400" b="0" i="1">
                <a:solidFill>
                  <a:schemeClr val="accent1"/>
                </a:solidFill>
              </a:defRPr>
            </a:lvl5pPr>
          </a:lstStyle>
          <a:p>
            <a:pPr lvl="0"/>
            <a:r>
              <a:rPr lang="de-DE" dirty="0" err="1"/>
              <a:t>Topline</a:t>
            </a:r>
            <a:r>
              <a:rPr lang="de-DE" dirty="0"/>
              <a:t> (z.B. Kapitel/kurze Beschreibung), PT Sans kursiv, 14 </a:t>
            </a:r>
            <a:r>
              <a:rPr lang="de-DE" dirty="0" err="1"/>
              <a:t>pt</a:t>
            </a:r>
            <a:br>
              <a:rPr lang="de-DE" dirty="0"/>
            </a:br>
            <a:r>
              <a:rPr lang="de-DE" dirty="0"/>
              <a:t>Optional: Zweizeilig</a:t>
            </a:r>
          </a:p>
        </p:txBody>
      </p:sp>
    </p:spTree>
    <p:extLst>
      <p:ext uri="{BB962C8B-B14F-4D97-AF65-F5344CB8AC3E}">
        <p14:creationId xmlns:p14="http://schemas.microsoft.com/office/powerpoint/2010/main" val="3812441654"/>
      </p:ext>
    </p:extLst>
  </p:cSld>
  <p:clrMapOvr>
    <a:masterClrMapping/>
  </p:clrMapOvr>
  <p:extLst>
    <p:ext uri="{DCECCB84-F9BA-43D5-87BE-67443E8EF086}">
      <p15:sldGuideLst xmlns:p15="http://schemas.microsoft.com/office/powerpoint/2012/main">
        <p15:guide id="1" pos="3749">
          <p15:clr>
            <a:srgbClr val="FBAE40"/>
          </p15:clr>
        </p15:guide>
        <p15:guide id="2" pos="3931">
          <p15:clr>
            <a:srgbClr val="FBAE40"/>
          </p15:clr>
        </p15:guide>
        <p15:guide id="3" orient="horz" pos="1253" userDrawn="1">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Bild vollflächig">
    <p:spTree>
      <p:nvGrpSpPr>
        <p:cNvPr id="1" name=""/>
        <p:cNvGrpSpPr/>
        <p:nvPr/>
      </p:nvGrpSpPr>
      <p:grpSpPr>
        <a:xfrm>
          <a:off x="0" y="0"/>
          <a:ext cx="0" cy="0"/>
          <a:chOff x="0" y="0"/>
          <a:chExt cx="0" cy="0"/>
        </a:xfrm>
      </p:grpSpPr>
      <p:sp>
        <p:nvSpPr>
          <p:cNvPr id="9" name="Bildplatzhalter 8">
            <a:extLst>
              <a:ext uri="{FF2B5EF4-FFF2-40B4-BE49-F238E27FC236}">
                <a16:creationId xmlns:a16="http://schemas.microsoft.com/office/drawing/2014/main" id="{C87D907C-FB72-4E56-BF55-78BC21219C33}"/>
              </a:ext>
            </a:extLst>
          </p:cNvPr>
          <p:cNvSpPr>
            <a:spLocks noGrp="1"/>
          </p:cNvSpPr>
          <p:nvPr>
            <p:ph type="pic" sz="quarter" idx="13" hasCustomPrompt="1"/>
          </p:nvPr>
        </p:nvSpPr>
        <p:spPr bwMode="gray">
          <a:xfrm>
            <a:off x="200439" y="211702"/>
            <a:ext cx="11791122" cy="6434592"/>
          </a:xfrm>
          <a:solidFill>
            <a:schemeClr val="bg2"/>
          </a:solidFill>
        </p:spPr>
        <p:txBody>
          <a:bodyPr lIns="108014" tIns="36005"/>
          <a:lstStyle>
            <a:lvl1pPr>
              <a:spcAft>
                <a:spcPts val="0"/>
              </a:spcAft>
              <a:defRPr sz="1600" b="0">
                <a:sym typeface="Wingdings" panose="05000000000000000000" pitchFamily="2" charset="2"/>
              </a:defRPr>
            </a:lvl1pPr>
          </a:lstStyle>
          <a:p>
            <a:r>
              <a:rPr lang="de-DE" noProof="0" dirty="0"/>
              <a:t>Hier geht’s zur Bilder-Bibliothek:  Schnellzugriff  </a:t>
            </a:r>
            <a:r>
              <a:rPr lang="de-DE" noProof="0" dirty="0" err="1"/>
              <a:t>PPT_Bilder_Vorlagen</a:t>
            </a:r>
            <a:endParaRPr lang="de-DE" noProof="0" dirty="0"/>
          </a:p>
        </p:txBody>
      </p:sp>
    </p:spTree>
    <p:extLst>
      <p:ext uri="{BB962C8B-B14F-4D97-AF65-F5344CB8AC3E}">
        <p14:creationId xmlns:p14="http://schemas.microsoft.com/office/powerpoint/2010/main" val="268147334"/>
      </p:ext>
    </p:extLst>
  </p:cSld>
  <p:clrMapOvr>
    <a:masterClrMapping/>
  </p:clrMapOvr>
  <p:extLst>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Bild mit Headline">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CB620FCE-058D-49CE-B32D-3D4106022BA7}"/>
              </a:ext>
            </a:extLst>
          </p:cNvPr>
          <p:cNvGraphicFramePr>
            <a:graphicFrameLocks noChangeAspect="1"/>
          </p:cNvGraphicFramePr>
          <p:nvPr userDrawn="1">
            <p:custDataLst>
              <p:tags r:id="rId1"/>
            </p:custDataLst>
            <p:extLst>
              <p:ext uri="{D42A27DB-BD31-4B8C-83A1-F6EECF244321}">
                <p14:modId xmlns:p14="http://schemas.microsoft.com/office/powerpoint/2010/main" val="17188986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6" name="Objekt 5" hidden="1">
                        <a:extLst>
                          <a:ext uri="{FF2B5EF4-FFF2-40B4-BE49-F238E27FC236}">
                            <a16:creationId xmlns:a16="http://schemas.microsoft.com/office/drawing/2014/main" id="{CB620FCE-058D-49CE-B32D-3D4106022BA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Bildplatzhalter 4">
            <a:extLst>
              <a:ext uri="{FF2B5EF4-FFF2-40B4-BE49-F238E27FC236}">
                <a16:creationId xmlns:a16="http://schemas.microsoft.com/office/drawing/2014/main" id="{4214E90E-CEE3-4A73-9964-EB2B2B91A9D3}"/>
              </a:ext>
            </a:extLst>
          </p:cNvPr>
          <p:cNvSpPr>
            <a:spLocks noGrp="1"/>
          </p:cNvSpPr>
          <p:nvPr>
            <p:ph type="pic" sz="quarter" idx="11" hasCustomPrompt="1"/>
          </p:nvPr>
        </p:nvSpPr>
        <p:spPr bwMode="gray">
          <a:xfrm>
            <a:off x="200439" y="1628775"/>
            <a:ext cx="11791122" cy="5017521"/>
          </a:xfrm>
          <a:solidFill>
            <a:schemeClr val="bg2"/>
          </a:solidFill>
        </p:spPr>
        <p:txBody>
          <a:bodyPr lIns="108014" tIns="36005"/>
          <a:lstStyle>
            <a:lvl1pPr>
              <a:spcAft>
                <a:spcPts val="0"/>
              </a:spcAft>
              <a:defRPr sz="1600" b="0">
                <a:sym typeface="Wingdings" panose="05000000000000000000" pitchFamily="2" charset="2"/>
              </a:defRPr>
            </a:lvl1pPr>
          </a:lstStyle>
          <a:p>
            <a:r>
              <a:rPr lang="de-DE" noProof="0" dirty="0"/>
              <a:t>Hier geht’s zur Bilder-Bibliothek:  Schnellzugriff  </a:t>
            </a:r>
            <a:r>
              <a:rPr lang="de-DE" noProof="0" dirty="0" err="1"/>
              <a:t>PPT_Bilder_Vorlagen</a:t>
            </a:r>
            <a:endParaRPr lang="de-DE" noProof="0" dirty="0"/>
          </a:p>
        </p:txBody>
      </p:sp>
      <p:sp>
        <p:nvSpPr>
          <p:cNvPr id="2" name="Titel 1">
            <a:extLst>
              <a:ext uri="{FF2B5EF4-FFF2-40B4-BE49-F238E27FC236}">
                <a16:creationId xmlns:a16="http://schemas.microsoft.com/office/drawing/2014/main" id="{FA4F4229-E8C8-4CBE-A19F-F2E39F8B974D}"/>
              </a:ext>
            </a:extLst>
          </p:cNvPr>
          <p:cNvSpPr>
            <a:spLocks noGrp="1"/>
          </p:cNvSpPr>
          <p:nvPr>
            <p:ph type="title" hasCustomPrompt="1"/>
          </p:nvPr>
        </p:nvSpPr>
        <p:spPr bwMode="gray">
          <a:xfrm>
            <a:off x="479425" y="739916"/>
            <a:ext cx="11233150" cy="443198"/>
          </a:xfrm>
        </p:spPr>
        <p:txBody>
          <a:bodyPr vert="horz"/>
          <a:lstStyle>
            <a:lvl1pPr rtl="0">
              <a:defRPr/>
            </a:lvl1pPr>
          </a:lstStyle>
          <a:p>
            <a:r>
              <a:rPr lang="de-DE" noProof="0" dirty="0"/>
              <a:t>Headline, PT Sans, 32 </a:t>
            </a:r>
            <a:r>
              <a:rPr lang="de-DE" noProof="0" dirty="0" err="1"/>
              <a:t>pt</a:t>
            </a:r>
            <a:endParaRPr lang="de-DE" noProof="0" dirty="0"/>
          </a:p>
        </p:txBody>
      </p:sp>
      <p:sp>
        <p:nvSpPr>
          <p:cNvPr id="7" name="Textplatzhalter 2">
            <a:extLst>
              <a:ext uri="{FF2B5EF4-FFF2-40B4-BE49-F238E27FC236}">
                <a16:creationId xmlns:a16="http://schemas.microsoft.com/office/drawing/2014/main" id="{5C0C3B27-2859-4DC8-A140-5C945AC6E740}"/>
              </a:ext>
            </a:extLst>
          </p:cNvPr>
          <p:cNvSpPr>
            <a:spLocks noGrp="1"/>
          </p:cNvSpPr>
          <p:nvPr>
            <p:ph type="body" sz="quarter" idx="12" hasCustomPrompt="1"/>
          </p:nvPr>
        </p:nvSpPr>
        <p:spPr>
          <a:xfrm>
            <a:off x="479425" y="156260"/>
            <a:ext cx="11233150" cy="430887"/>
          </a:xfrm>
        </p:spPr>
        <p:txBody>
          <a:bodyPr anchor="b">
            <a:spAutoFit/>
          </a:bodyPr>
          <a:lstStyle>
            <a:lvl1pPr>
              <a:spcAft>
                <a:spcPts val="0"/>
              </a:spcAft>
              <a:defRPr sz="1400" b="0" i="1">
                <a:solidFill>
                  <a:schemeClr val="accent1"/>
                </a:solidFill>
              </a:defRPr>
            </a:lvl1pPr>
            <a:lvl2pPr>
              <a:defRPr sz="1400" b="0" i="1">
                <a:solidFill>
                  <a:schemeClr val="accent1"/>
                </a:solidFill>
              </a:defRPr>
            </a:lvl2pPr>
            <a:lvl3pPr>
              <a:defRPr sz="1400" b="0" i="1">
                <a:solidFill>
                  <a:schemeClr val="accent1"/>
                </a:solidFill>
              </a:defRPr>
            </a:lvl3pPr>
            <a:lvl4pPr>
              <a:defRPr sz="1400" b="0" i="1">
                <a:solidFill>
                  <a:schemeClr val="accent1"/>
                </a:solidFill>
              </a:defRPr>
            </a:lvl4pPr>
            <a:lvl5pPr>
              <a:defRPr sz="1400" b="0" i="1">
                <a:solidFill>
                  <a:schemeClr val="accent1"/>
                </a:solidFill>
              </a:defRPr>
            </a:lvl5pPr>
          </a:lstStyle>
          <a:p>
            <a:pPr lvl="0"/>
            <a:r>
              <a:rPr lang="de-DE" dirty="0" err="1"/>
              <a:t>Topline</a:t>
            </a:r>
            <a:r>
              <a:rPr lang="de-DE" dirty="0"/>
              <a:t> (z.B. Kapitel/kurze Beschreibung), PT Sans kursiv, 14 </a:t>
            </a:r>
            <a:r>
              <a:rPr lang="de-DE" dirty="0" err="1"/>
              <a:t>pt</a:t>
            </a:r>
            <a:br>
              <a:rPr lang="de-DE" dirty="0"/>
            </a:br>
            <a:r>
              <a:rPr lang="de-DE" dirty="0"/>
              <a:t>Optional: Zweizeilig</a:t>
            </a:r>
          </a:p>
        </p:txBody>
      </p:sp>
    </p:spTree>
    <p:extLst>
      <p:ext uri="{BB962C8B-B14F-4D97-AF65-F5344CB8AC3E}">
        <p14:creationId xmlns:p14="http://schemas.microsoft.com/office/powerpoint/2010/main" val="4124823353"/>
      </p:ext>
    </p:extLst>
  </p:cSld>
  <p:clrMapOvr>
    <a:masterClrMapping/>
  </p:clrMapOvr>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Kapitelfolie">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28331A3B-A55C-45EB-BAEE-67A12C40B8EC}"/>
              </a:ext>
            </a:extLst>
          </p:cNvPr>
          <p:cNvGraphicFramePr>
            <a:graphicFrameLocks noChangeAspect="1"/>
          </p:cNvGraphicFramePr>
          <p:nvPr userDrawn="1">
            <p:custDataLst>
              <p:tags r:id="rId1"/>
            </p:custDataLst>
            <p:extLst>
              <p:ext uri="{D42A27DB-BD31-4B8C-83A1-F6EECF244321}">
                <p14:modId xmlns:p14="http://schemas.microsoft.com/office/powerpoint/2010/main" val="7733245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3" name="Objekt 2" hidden="1">
                        <a:extLst>
                          <a:ext uri="{FF2B5EF4-FFF2-40B4-BE49-F238E27FC236}">
                            <a16:creationId xmlns:a16="http://schemas.microsoft.com/office/drawing/2014/main" id="{28331A3B-A55C-45EB-BAEE-67A12C40B8E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hteck 9">
            <a:extLst>
              <a:ext uri="{FF2B5EF4-FFF2-40B4-BE49-F238E27FC236}">
                <a16:creationId xmlns:a16="http://schemas.microsoft.com/office/drawing/2014/main" id="{9C7CB0C7-F5D2-4463-A173-5F754804B155}"/>
              </a:ext>
            </a:extLst>
          </p:cNvPr>
          <p:cNvSpPr/>
          <p:nvPr userDrawn="1"/>
        </p:nvSpPr>
        <p:spPr>
          <a:xfrm>
            <a:off x="200437" y="1070044"/>
            <a:ext cx="4809308" cy="388666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44000" rIns="180000" bIns="144000" rtlCol="0" anchor="t"/>
          <a:lstStyle/>
          <a:p>
            <a:pPr algn="l" rtl="0"/>
            <a:endParaRPr lang="de-DE" sz="1600" dirty="0">
              <a:solidFill>
                <a:schemeClr val="bg1"/>
              </a:solidFill>
            </a:endParaRPr>
          </a:p>
        </p:txBody>
      </p:sp>
      <p:sp>
        <p:nvSpPr>
          <p:cNvPr id="11" name="Bildplatzhalter 10">
            <a:extLst>
              <a:ext uri="{FF2B5EF4-FFF2-40B4-BE49-F238E27FC236}">
                <a16:creationId xmlns:a16="http://schemas.microsoft.com/office/drawing/2014/main" id="{62F4818C-D163-4B84-8DEF-E288276C2D7B}"/>
              </a:ext>
            </a:extLst>
          </p:cNvPr>
          <p:cNvSpPr>
            <a:spLocks noGrp="1"/>
          </p:cNvSpPr>
          <p:nvPr>
            <p:ph type="pic" sz="quarter" idx="14" hasCustomPrompt="1"/>
          </p:nvPr>
        </p:nvSpPr>
        <p:spPr bwMode="gray">
          <a:xfrm>
            <a:off x="200438" y="211702"/>
            <a:ext cx="11791121" cy="6434593"/>
          </a:xfrm>
          <a:custGeom>
            <a:avLst/>
            <a:gdLst>
              <a:gd name="connsiteX0" fmla="*/ 0 w 11791121"/>
              <a:gd name="connsiteY0" fmla="*/ 0 h 6434593"/>
              <a:gd name="connsiteX1" fmla="*/ 11791121 w 11791121"/>
              <a:gd name="connsiteY1" fmla="*/ 0 h 6434593"/>
              <a:gd name="connsiteX2" fmla="*/ 11791121 w 11791121"/>
              <a:gd name="connsiteY2" fmla="*/ 6434593 h 6434593"/>
              <a:gd name="connsiteX3" fmla="*/ 0 w 11791121"/>
              <a:gd name="connsiteY3" fmla="*/ 6434593 h 6434593"/>
              <a:gd name="connsiteX4" fmla="*/ 0 w 11791121"/>
              <a:gd name="connsiteY4" fmla="*/ 4645188 h 6434593"/>
              <a:gd name="connsiteX5" fmla="*/ 11599 w 11791121"/>
              <a:gd name="connsiteY5" fmla="*/ 4644764 h 6434593"/>
              <a:gd name="connsiteX6" fmla="*/ 3284778 w 11791121"/>
              <a:gd name="connsiteY6" fmla="*/ 4525507 h 6434593"/>
              <a:gd name="connsiteX7" fmla="*/ 3901828 w 11791121"/>
              <a:gd name="connsiteY7" fmla="*/ 4044782 h 6434593"/>
              <a:gd name="connsiteX8" fmla="*/ 4612155 w 11791121"/>
              <a:gd name="connsiteY8" fmla="*/ 1330578 h 6434593"/>
              <a:gd name="connsiteX9" fmla="*/ 4377006 w 11791121"/>
              <a:gd name="connsiteY9" fmla="*/ 958305 h 6434593"/>
              <a:gd name="connsiteX10" fmla="*/ 4288256 w 11791121"/>
              <a:gd name="connsiteY10" fmla="*/ 964653 h 6434593"/>
              <a:gd name="connsiteX11" fmla="*/ 336873 w 11791121"/>
              <a:gd name="connsiteY11" fmla="*/ 1622704 h 6434593"/>
              <a:gd name="connsiteX12" fmla="*/ 20448 w 11791121"/>
              <a:gd name="connsiteY12" fmla="*/ 1756646 h 6434593"/>
              <a:gd name="connsiteX13" fmla="*/ 0 w 11791121"/>
              <a:gd name="connsiteY13" fmla="*/ 1771398 h 64345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791121" h="6434593">
                <a:moveTo>
                  <a:pt x="0" y="0"/>
                </a:moveTo>
                <a:lnTo>
                  <a:pt x="11791121" y="0"/>
                </a:lnTo>
                <a:lnTo>
                  <a:pt x="11791121" y="6434593"/>
                </a:lnTo>
                <a:lnTo>
                  <a:pt x="0" y="6434593"/>
                </a:lnTo>
                <a:lnTo>
                  <a:pt x="0" y="4645188"/>
                </a:lnTo>
                <a:lnTo>
                  <a:pt x="11599" y="4644764"/>
                </a:lnTo>
                <a:cubicBezTo>
                  <a:pt x="1244017" y="4599639"/>
                  <a:pt x="3284778" y="4525507"/>
                  <a:pt x="3284778" y="4525507"/>
                </a:cubicBezTo>
                <a:cubicBezTo>
                  <a:pt x="3656854" y="4509107"/>
                  <a:pt x="3838279" y="4288731"/>
                  <a:pt x="3901828" y="4044782"/>
                </a:cubicBezTo>
                <a:cubicBezTo>
                  <a:pt x="3901828" y="4044782"/>
                  <a:pt x="4547580" y="1579653"/>
                  <a:pt x="4612155" y="1330578"/>
                </a:cubicBezTo>
                <a:cubicBezTo>
                  <a:pt x="4670452" y="1104565"/>
                  <a:pt x="4571010" y="963307"/>
                  <a:pt x="4377006" y="958305"/>
                </a:cubicBezTo>
                <a:cubicBezTo>
                  <a:pt x="4349291" y="957589"/>
                  <a:pt x="4319646" y="959656"/>
                  <a:pt x="4288256" y="964653"/>
                </a:cubicBezTo>
                <a:cubicBezTo>
                  <a:pt x="4033028" y="1003603"/>
                  <a:pt x="602348" y="1550954"/>
                  <a:pt x="336873" y="1622704"/>
                </a:cubicBezTo>
                <a:cubicBezTo>
                  <a:pt x="216948" y="1654992"/>
                  <a:pt x="112590" y="1698233"/>
                  <a:pt x="20448" y="1756646"/>
                </a:cubicBezTo>
                <a:lnTo>
                  <a:pt x="0" y="1771398"/>
                </a:lnTo>
                <a:close/>
              </a:path>
            </a:pathLst>
          </a:custGeom>
          <a:solidFill>
            <a:schemeClr val="bg2"/>
          </a:solidFill>
        </p:spPr>
        <p:txBody>
          <a:bodyPr wrap="square" lIns="108014" tIns="36005">
            <a:noAutofit/>
          </a:bodyPr>
          <a:lstStyle>
            <a:lvl1pPr>
              <a:spcAft>
                <a:spcPts val="0"/>
              </a:spcAft>
              <a:defRPr sz="1600" b="0">
                <a:sym typeface="Wingdings" panose="05000000000000000000" pitchFamily="2" charset="2"/>
              </a:defRPr>
            </a:lvl1pPr>
          </a:lstStyle>
          <a:p>
            <a:r>
              <a:rPr lang="de-DE" noProof="0" dirty="0"/>
              <a:t>Hier geht’s zur Bilder-Bibliothek:  Schnellzugriff  </a:t>
            </a:r>
            <a:r>
              <a:rPr lang="de-DE" noProof="0" dirty="0" err="1"/>
              <a:t>PPT_Bilder_Vorlagen</a:t>
            </a:r>
            <a:endParaRPr lang="de-DE" noProof="0" dirty="0"/>
          </a:p>
        </p:txBody>
      </p:sp>
      <p:sp>
        <p:nvSpPr>
          <p:cNvPr id="5" name="Textplatzhalter 4">
            <a:extLst>
              <a:ext uri="{FF2B5EF4-FFF2-40B4-BE49-F238E27FC236}">
                <a16:creationId xmlns:a16="http://schemas.microsoft.com/office/drawing/2014/main" id="{55DFD521-41B3-45E2-8B3A-5BB64D5E8109}"/>
              </a:ext>
            </a:extLst>
          </p:cNvPr>
          <p:cNvSpPr>
            <a:spLocks noGrp="1"/>
          </p:cNvSpPr>
          <p:nvPr>
            <p:ph type="body" sz="quarter" idx="17" hasCustomPrompt="1"/>
          </p:nvPr>
        </p:nvSpPr>
        <p:spPr bwMode="gray">
          <a:xfrm>
            <a:off x="479424" y="2248786"/>
            <a:ext cx="3528527" cy="1976400"/>
          </a:xfrm>
        </p:spPr>
        <p:txBody>
          <a:bodyPr anchor="ctr"/>
          <a:lstStyle>
            <a:lvl1pPr rtl="0">
              <a:lnSpc>
                <a:spcPct val="90000"/>
              </a:lnSpc>
              <a:defRPr sz="3600" b="0">
                <a:solidFill>
                  <a:schemeClr val="accent1"/>
                </a:solidFill>
              </a:defRPr>
            </a:lvl1pPr>
            <a:lvl2pPr rtl="0">
              <a:lnSpc>
                <a:spcPct val="90000"/>
              </a:lnSpc>
              <a:spcAft>
                <a:spcPts val="100"/>
              </a:spcAft>
              <a:defRPr>
                <a:solidFill>
                  <a:schemeClr val="bg1"/>
                </a:solidFill>
              </a:defRPr>
            </a:lvl2pPr>
          </a:lstStyle>
          <a:p>
            <a:pPr lvl="0"/>
            <a:r>
              <a:rPr lang="de-DE" noProof="0" dirty="0"/>
              <a:t>Kapitel 01,</a:t>
            </a:r>
            <a:br>
              <a:rPr lang="de-DE" noProof="0" dirty="0"/>
            </a:br>
            <a:r>
              <a:rPr lang="de-DE" noProof="0" dirty="0"/>
              <a:t>max. 2 Zeilen</a:t>
            </a:r>
          </a:p>
          <a:p>
            <a:pPr lvl="1"/>
            <a:r>
              <a:rPr lang="de-DE" noProof="0" dirty="0"/>
              <a:t>PT Sans, 16pt, max. 3 Zeilen</a:t>
            </a:r>
            <a:br>
              <a:rPr lang="de-DE" noProof="0" dirty="0"/>
            </a:br>
            <a:r>
              <a:rPr lang="de-DE" noProof="0" dirty="0" err="1"/>
              <a:t>Lorem</a:t>
            </a:r>
            <a:r>
              <a:rPr lang="de-DE" noProof="0" dirty="0"/>
              <a:t> </a:t>
            </a:r>
            <a:r>
              <a:rPr lang="de-DE" noProof="0" dirty="0" err="1"/>
              <a:t>ipsum</a:t>
            </a:r>
            <a:r>
              <a:rPr lang="de-DE" noProof="0" dirty="0"/>
              <a:t> </a:t>
            </a:r>
            <a:r>
              <a:rPr lang="de-DE" noProof="0" dirty="0" err="1"/>
              <a:t>dolor</a:t>
            </a:r>
            <a:r>
              <a:rPr lang="de-DE" noProof="0" dirty="0"/>
              <a:t> </a:t>
            </a:r>
            <a:r>
              <a:rPr lang="de-DE" noProof="0" dirty="0" err="1"/>
              <a:t>sit</a:t>
            </a:r>
            <a:r>
              <a:rPr lang="de-DE" noProof="0" dirty="0"/>
              <a:t> </a:t>
            </a:r>
            <a:r>
              <a:rPr lang="de-DE" noProof="0" dirty="0" err="1"/>
              <a:t>amet</a:t>
            </a:r>
            <a:r>
              <a:rPr lang="de-DE" noProof="0" dirty="0"/>
              <a:t> </a:t>
            </a:r>
            <a:r>
              <a:rPr lang="de-DE" noProof="0" dirty="0" err="1"/>
              <a:t>consectetuer</a:t>
            </a:r>
            <a:r>
              <a:rPr lang="de-DE" noProof="0" dirty="0"/>
              <a:t> </a:t>
            </a:r>
            <a:r>
              <a:rPr lang="de-DE" noProof="0" dirty="0" err="1"/>
              <a:t>adipiscing</a:t>
            </a:r>
            <a:r>
              <a:rPr lang="de-DE" noProof="0" dirty="0"/>
              <a:t> </a:t>
            </a:r>
            <a:r>
              <a:rPr lang="de-DE" noProof="0" dirty="0" err="1"/>
              <a:t>elit</a:t>
            </a:r>
            <a:r>
              <a:rPr lang="de-DE" noProof="0" dirty="0"/>
              <a:t>. </a:t>
            </a:r>
          </a:p>
        </p:txBody>
      </p:sp>
    </p:spTree>
    <p:extLst>
      <p:ext uri="{BB962C8B-B14F-4D97-AF65-F5344CB8AC3E}">
        <p14:creationId xmlns:p14="http://schemas.microsoft.com/office/powerpoint/2010/main" val="283403271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ild oben">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4B775A9F-ED78-4A86-8A2D-1403D2847546}"/>
              </a:ext>
            </a:extLst>
          </p:cNvPr>
          <p:cNvGraphicFramePr>
            <a:graphicFrameLocks noChangeAspect="1"/>
          </p:cNvGraphicFramePr>
          <p:nvPr userDrawn="1">
            <p:custDataLst>
              <p:tags r:id="rId1"/>
            </p:custDataLst>
            <p:extLst>
              <p:ext uri="{D42A27DB-BD31-4B8C-83A1-F6EECF244321}">
                <p14:modId xmlns:p14="http://schemas.microsoft.com/office/powerpoint/2010/main" val="5443507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8" name="Objekt 7" hidden="1">
                        <a:extLst>
                          <a:ext uri="{FF2B5EF4-FFF2-40B4-BE49-F238E27FC236}">
                            <a16:creationId xmlns:a16="http://schemas.microsoft.com/office/drawing/2014/main" id="{4B775A9F-ED78-4A86-8A2D-1403D284754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Bildplatzhalter 4">
            <a:extLst>
              <a:ext uri="{FF2B5EF4-FFF2-40B4-BE49-F238E27FC236}">
                <a16:creationId xmlns:a16="http://schemas.microsoft.com/office/drawing/2014/main" id="{4214E90E-CEE3-4A73-9964-EB2B2B91A9D3}"/>
              </a:ext>
            </a:extLst>
          </p:cNvPr>
          <p:cNvSpPr>
            <a:spLocks noGrp="1"/>
          </p:cNvSpPr>
          <p:nvPr>
            <p:ph type="pic" sz="quarter" idx="11" hasCustomPrompt="1"/>
          </p:nvPr>
        </p:nvSpPr>
        <p:spPr bwMode="gray">
          <a:xfrm>
            <a:off x="200438" y="211702"/>
            <a:ext cx="11791122" cy="3628800"/>
          </a:xfrm>
          <a:solidFill>
            <a:schemeClr val="bg2"/>
          </a:solidFill>
        </p:spPr>
        <p:txBody>
          <a:bodyPr lIns="108014" tIns="36005"/>
          <a:lstStyle>
            <a:lvl1pPr>
              <a:spcAft>
                <a:spcPts val="0"/>
              </a:spcAft>
              <a:defRPr sz="1600" b="0">
                <a:sym typeface="Wingdings" panose="05000000000000000000" pitchFamily="2" charset="2"/>
              </a:defRPr>
            </a:lvl1pPr>
          </a:lstStyle>
          <a:p>
            <a:r>
              <a:rPr lang="de-DE" noProof="0" dirty="0"/>
              <a:t>Hier geht’s zur Bilder-Bibliothek:  Schnellzugriff  </a:t>
            </a:r>
            <a:r>
              <a:rPr lang="de-DE" noProof="0" dirty="0" err="1"/>
              <a:t>PPT_Bilder_Vorlagen</a:t>
            </a:r>
            <a:endParaRPr lang="de-DE" noProof="0" dirty="0"/>
          </a:p>
        </p:txBody>
      </p:sp>
      <p:sp>
        <p:nvSpPr>
          <p:cNvPr id="2" name="Titel 1">
            <a:extLst>
              <a:ext uri="{FF2B5EF4-FFF2-40B4-BE49-F238E27FC236}">
                <a16:creationId xmlns:a16="http://schemas.microsoft.com/office/drawing/2014/main" id="{FA4F4229-E8C8-4CBE-A19F-F2E39F8B974D}"/>
              </a:ext>
            </a:extLst>
          </p:cNvPr>
          <p:cNvSpPr>
            <a:spLocks noGrp="1"/>
          </p:cNvSpPr>
          <p:nvPr>
            <p:ph type="title" hasCustomPrompt="1"/>
          </p:nvPr>
        </p:nvSpPr>
        <p:spPr bwMode="gray">
          <a:xfrm>
            <a:off x="479425" y="4657741"/>
            <a:ext cx="11233150" cy="443198"/>
          </a:xfrm>
        </p:spPr>
        <p:txBody>
          <a:bodyPr vert="horz"/>
          <a:lstStyle>
            <a:lvl1pPr rtl="0">
              <a:defRPr/>
            </a:lvl1pPr>
          </a:lstStyle>
          <a:p>
            <a:r>
              <a:rPr lang="de-DE" noProof="0" dirty="0"/>
              <a:t>Headline, PT Sans, 32 </a:t>
            </a:r>
            <a:r>
              <a:rPr lang="de-DE" noProof="0" dirty="0" err="1"/>
              <a:t>pt</a:t>
            </a:r>
            <a:endParaRPr lang="de-DE" noProof="0" dirty="0"/>
          </a:p>
        </p:txBody>
      </p:sp>
      <p:cxnSp>
        <p:nvCxnSpPr>
          <p:cNvPr id="6" name="Gerader Verbinder 5">
            <a:extLst>
              <a:ext uri="{FF2B5EF4-FFF2-40B4-BE49-F238E27FC236}">
                <a16:creationId xmlns:a16="http://schemas.microsoft.com/office/drawing/2014/main" id="{1D5D8701-14A1-4FDC-8292-45F87C5FCACE}"/>
              </a:ext>
            </a:extLst>
          </p:cNvPr>
          <p:cNvCxnSpPr>
            <a:cxnSpLocks/>
          </p:cNvCxnSpPr>
          <p:nvPr userDrawn="1"/>
        </p:nvCxnSpPr>
        <p:spPr bwMode="gray">
          <a:xfrm>
            <a:off x="479425" y="4572304"/>
            <a:ext cx="11233150" cy="0"/>
          </a:xfrm>
          <a:prstGeom prst="line">
            <a:avLst/>
          </a:prstGeom>
          <a:noFill/>
          <a:ln w="6350" cap="flat">
            <a:solidFill>
              <a:srgbClr val="2F4D72"/>
            </a:solidFill>
            <a:prstDash val="solid"/>
            <a:miter/>
          </a:ln>
        </p:spPr>
      </p:cxnSp>
      <p:sp>
        <p:nvSpPr>
          <p:cNvPr id="7" name="Textplatzhalter 6">
            <a:extLst>
              <a:ext uri="{FF2B5EF4-FFF2-40B4-BE49-F238E27FC236}">
                <a16:creationId xmlns:a16="http://schemas.microsoft.com/office/drawing/2014/main" id="{28D1346D-ED76-4A18-B8B5-D24CB58AF626}"/>
              </a:ext>
            </a:extLst>
          </p:cNvPr>
          <p:cNvSpPr>
            <a:spLocks noGrp="1"/>
          </p:cNvSpPr>
          <p:nvPr>
            <p:ph type="body" sz="quarter" idx="12" hasCustomPrompt="1"/>
          </p:nvPr>
        </p:nvSpPr>
        <p:spPr bwMode="gray">
          <a:xfrm>
            <a:off x="479425" y="5354161"/>
            <a:ext cx="11233149" cy="738664"/>
          </a:xfrm>
        </p:spPr>
        <p:txBody>
          <a:bodyPr/>
          <a:lstStyle>
            <a:lvl1pPr rtl="0">
              <a:defRPr/>
            </a:lvl1pPr>
            <a:lvl2pPr rtl="0">
              <a:defRPr/>
            </a:lvl2pPr>
          </a:lstStyle>
          <a:p>
            <a:pPr lvl="0"/>
            <a:r>
              <a:rPr lang="de-DE" noProof="0" dirty="0"/>
              <a:t>Sub-Headline, PT Sans fett, 20 </a:t>
            </a:r>
            <a:r>
              <a:rPr lang="de-DE" noProof="0" dirty="0" err="1"/>
              <a:t>pt</a:t>
            </a:r>
            <a:endParaRPr lang="de-DE" noProof="0" dirty="0"/>
          </a:p>
          <a:p>
            <a:pPr lvl="1"/>
            <a:r>
              <a:rPr lang="de-DE" noProof="0" dirty="0"/>
              <a:t>Copy, PT Sans, 16 </a:t>
            </a:r>
            <a:r>
              <a:rPr lang="de-DE" noProof="0" dirty="0" err="1"/>
              <a:t>pt</a:t>
            </a:r>
            <a:endParaRPr lang="de-DE" noProof="0" dirty="0"/>
          </a:p>
        </p:txBody>
      </p:sp>
      <p:sp>
        <p:nvSpPr>
          <p:cNvPr id="9" name="Textplatzhalter 2">
            <a:extLst>
              <a:ext uri="{FF2B5EF4-FFF2-40B4-BE49-F238E27FC236}">
                <a16:creationId xmlns:a16="http://schemas.microsoft.com/office/drawing/2014/main" id="{64523F55-AB86-48AA-9220-67566EF4D13F}"/>
              </a:ext>
            </a:extLst>
          </p:cNvPr>
          <p:cNvSpPr>
            <a:spLocks noGrp="1"/>
          </p:cNvSpPr>
          <p:nvPr>
            <p:ph type="body" sz="quarter" idx="13" hasCustomPrompt="1"/>
          </p:nvPr>
        </p:nvSpPr>
        <p:spPr>
          <a:xfrm>
            <a:off x="479425" y="4074085"/>
            <a:ext cx="11233150" cy="430887"/>
          </a:xfrm>
        </p:spPr>
        <p:txBody>
          <a:bodyPr anchor="b">
            <a:spAutoFit/>
          </a:bodyPr>
          <a:lstStyle>
            <a:lvl1pPr>
              <a:spcAft>
                <a:spcPts val="0"/>
              </a:spcAft>
              <a:defRPr sz="1400" b="0" i="1">
                <a:solidFill>
                  <a:schemeClr val="accent1"/>
                </a:solidFill>
              </a:defRPr>
            </a:lvl1pPr>
            <a:lvl2pPr>
              <a:defRPr sz="1400" b="0" i="1">
                <a:solidFill>
                  <a:schemeClr val="accent1"/>
                </a:solidFill>
              </a:defRPr>
            </a:lvl2pPr>
            <a:lvl3pPr>
              <a:defRPr sz="1400" b="0" i="1">
                <a:solidFill>
                  <a:schemeClr val="accent1"/>
                </a:solidFill>
              </a:defRPr>
            </a:lvl3pPr>
            <a:lvl4pPr>
              <a:defRPr sz="1400" b="0" i="1">
                <a:solidFill>
                  <a:schemeClr val="accent1"/>
                </a:solidFill>
              </a:defRPr>
            </a:lvl4pPr>
            <a:lvl5pPr>
              <a:defRPr sz="1400" b="0" i="1">
                <a:solidFill>
                  <a:schemeClr val="accent1"/>
                </a:solidFill>
              </a:defRPr>
            </a:lvl5pPr>
          </a:lstStyle>
          <a:p>
            <a:pPr lvl="0"/>
            <a:r>
              <a:rPr lang="de-DE" dirty="0" err="1"/>
              <a:t>Topline</a:t>
            </a:r>
            <a:r>
              <a:rPr lang="de-DE" dirty="0"/>
              <a:t> (z.B. Kapitel/kurze Beschreibung), PT Sans kursiv, 14 </a:t>
            </a:r>
            <a:r>
              <a:rPr lang="de-DE" dirty="0" err="1"/>
              <a:t>pt</a:t>
            </a:r>
            <a:br>
              <a:rPr lang="de-DE" dirty="0"/>
            </a:br>
            <a:r>
              <a:rPr lang="de-DE" dirty="0"/>
              <a:t>Optional: Zweizeilig</a:t>
            </a:r>
          </a:p>
        </p:txBody>
      </p:sp>
    </p:spTree>
    <p:extLst>
      <p:ext uri="{BB962C8B-B14F-4D97-AF65-F5344CB8AC3E}">
        <p14:creationId xmlns:p14="http://schemas.microsoft.com/office/powerpoint/2010/main" val="3813723727"/>
      </p:ext>
    </p:extLst>
  </p:cSld>
  <p:clrMapOvr>
    <a:masterClrMapping/>
  </p:clrMapOvr>
  <p:extLst>
    <p:ext uri="{DCECCB84-F9BA-43D5-87BE-67443E8EF086}">
      <p15:sldGuideLst xmlns:p15="http://schemas.microsoft.com/office/powerpoint/2012/main"/>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Bild oben w/o Topline">
    <p:spTree>
      <p:nvGrpSpPr>
        <p:cNvPr id="1" name=""/>
        <p:cNvGrpSpPr/>
        <p:nvPr/>
      </p:nvGrpSpPr>
      <p:grpSpPr>
        <a:xfrm>
          <a:off x="0" y="0"/>
          <a:ext cx="0" cy="0"/>
          <a:chOff x="0" y="0"/>
          <a:chExt cx="0" cy="0"/>
        </a:xfrm>
      </p:grpSpPr>
      <p:graphicFrame>
        <p:nvGraphicFramePr>
          <p:cNvPr id="10" name="Objekt 9" hidden="1">
            <a:extLst>
              <a:ext uri="{FF2B5EF4-FFF2-40B4-BE49-F238E27FC236}">
                <a16:creationId xmlns:a16="http://schemas.microsoft.com/office/drawing/2014/main" id="{AA298B5A-E311-4ADE-8FD7-6130EFC66EA7}"/>
              </a:ext>
            </a:extLst>
          </p:cNvPr>
          <p:cNvGraphicFramePr>
            <a:graphicFrameLocks noChangeAspect="1"/>
          </p:cNvGraphicFramePr>
          <p:nvPr userDrawn="1">
            <p:custDataLst>
              <p:tags r:id="rId1"/>
            </p:custDataLst>
            <p:extLst>
              <p:ext uri="{D42A27DB-BD31-4B8C-83A1-F6EECF244321}">
                <p14:modId xmlns:p14="http://schemas.microsoft.com/office/powerpoint/2010/main" val="17040449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10" name="Objekt 9" hidden="1">
                        <a:extLst>
                          <a:ext uri="{FF2B5EF4-FFF2-40B4-BE49-F238E27FC236}">
                            <a16:creationId xmlns:a16="http://schemas.microsoft.com/office/drawing/2014/main" id="{AA298B5A-E311-4ADE-8FD7-6130EFC66EA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Bildplatzhalter 4">
            <a:extLst>
              <a:ext uri="{FF2B5EF4-FFF2-40B4-BE49-F238E27FC236}">
                <a16:creationId xmlns:a16="http://schemas.microsoft.com/office/drawing/2014/main" id="{4214E90E-CEE3-4A73-9964-EB2B2B91A9D3}"/>
              </a:ext>
            </a:extLst>
          </p:cNvPr>
          <p:cNvSpPr>
            <a:spLocks noGrp="1"/>
          </p:cNvSpPr>
          <p:nvPr>
            <p:ph type="pic" sz="quarter" idx="11" hasCustomPrompt="1"/>
          </p:nvPr>
        </p:nvSpPr>
        <p:spPr bwMode="gray">
          <a:xfrm>
            <a:off x="200438" y="211702"/>
            <a:ext cx="11791122" cy="3628800"/>
          </a:xfrm>
          <a:solidFill>
            <a:schemeClr val="bg2"/>
          </a:solidFill>
        </p:spPr>
        <p:txBody>
          <a:bodyPr lIns="108014" tIns="36005"/>
          <a:lstStyle>
            <a:lvl1pPr>
              <a:spcAft>
                <a:spcPts val="0"/>
              </a:spcAft>
              <a:defRPr sz="1600" b="0">
                <a:sym typeface="Wingdings" panose="05000000000000000000" pitchFamily="2" charset="2"/>
              </a:defRPr>
            </a:lvl1pPr>
          </a:lstStyle>
          <a:p>
            <a:r>
              <a:rPr lang="de-DE" noProof="0" dirty="0"/>
              <a:t>Hier geht’s zur Bilder-Bibliothek:  Schnellzugriff  </a:t>
            </a:r>
            <a:r>
              <a:rPr lang="de-DE" noProof="0" dirty="0" err="1"/>
              <a:t>PPT_Bilder_Vorlagen</a:t>
            </a:r>
            <a:endParaRPr lang="de-DE" noProof="0" dirty="0"/>
          </a:p>
        </p:txBody>
      </p:sp>
      <p:sp>
        <p:nvSpPr>
          <p:cNvPr id="2" name="Titel 1">
            <a:extLst>
              <a:ext uri="{FF2B5EF4-FFF2-40B4-BE49-F238E27FC236}">
                <a16:creationId xmlns:a16="http://schemas.microsoft.com/office/drawing/2014/main" id="{FA4F4229-E8C8-4CBE-A19F-F2E39F8B974D}"/>
              </a:ext>
            </a:extLst>
          </p:cNvPr>
          <p:cNvSpPr>
            <a:spLocks noGrp="1"/>
          </p:cNvSpPr>
          <p:nvPr>
            <p:ph type="title" hasCustomPrompt="1"/>
          </p:nvPr>
        </p:nvSpPr>
        <p:spPr bwMode="gray">
          <a:xfrm>
            <a:off x="479425" y="4074085"/>
            <a:ext cx="11233150" cy="443198"/>
          </a:xfrm>
        </p:spPr>
        <p:txBody>
          <a:bodyPr vert="horz"/>
          <a:lstStyle>
            <a:lvl1pPr rtl="0">
              <a:defRPr/>
            </a:lvl1pPr>
          </a:lstStyle>
          <a:p>
            <a:r>
              <a:rPr lang="de-DE" noProof="0" dirty="0"/>
              <a:t>Headline, PT Sans, 32 </a:t>
            </a:r>
            <a:r>
              <a:rPr lang="de-DE" noProof="0" dirty="0" err="1"/>
              <a:t>pt</a:t>
            </a:r>
            <a:endParaRPr lang="de-DE" noProof="0" dirty="0"/>
          </a:p>
        </p:txBody>
      </p:sp>
      <p:sp>
        <p:nvSpPr>
          <p:cNvPr id="7" name="Textplatzhalter 6">
            <a:extLst>
              <a:ext uri="{FF2B5EF4-FFF2-40B4-BE49-F238E27FC236}">
                <a16:creationId xmlns:a16="http://schemas.microsoft.com/office/drawing/2014/main" id="{28D1346D-ED76-4A18-B8B5-D24CB58AF626}"/>
              </a:ext>
            </a:extLst>
          </p:cNvPr>
          <p:cNvSpPr>
            <a:spLocks noGrp="1"/>
          </p:cNvSpPr>
          <p:nvPr>
            <p:ph type="body" sz="quarter" idx="12" hasCustomPrompt="1"/>
          </p:nvPr>
        </p:nvSpPr>
        <p:spPr bwMode="gray">
          <a:xfrm>
            <a:off x="479425" y="4727643"/>
            <a:ext cx="11233149" cy="1365182"/>
          </a:xfrm>
        </p:spPr>
        <p:txBody>
          <a:bodyPr/>
          <a:lstStyle>
            <a:lvl1pPr rtl="0">
              <a:defRPr/>
            </a:lvl1pPr>
            <a:lvl2pPr rtl="0">
              <a:defRPr/>
            </a:lvl2pPr>
            <a:lvl3pPr rtl="0">
              <a:defRPr/>
            </a:lvl3pPr>
            <a:lvl4pPr rtl="0">
              <a:defRPr/>
            </a:lvl4pPr>
          </a:lstStyle>
          <a:p>
            <a:pPr lvl="0"/>
            <a:r>
              <a:rPr lang="de-DE" noProof="0" dirty="0"/>
              <a:t>Sub-Headline, PT Sans fett, 20 </a:t>
            </a:r>
            <a:r>
              <a:rPr lang="de-DE" noProof="0" dirty="0" err="1"/>
              <a:t>pt</a:t>
            </a:r>
            <a:endParaRPr lang="de-DE" noProof="0" dirty="0"/>
          </a:p>
          <a:p>
            <a:pPr lvl="1"/>
            <a:r>
              <a:rPr lang="de-DE" noProof="0" dirty="0"/>
              <a:t>Copy, PT Sans, 16 </a:t>
            </a:r>
            <a:r>
              <a:rPr lang="de-DE" noProof="0" dirty="0" err="1"/>
              <a:t>pt</a:t>
            </a:r>
            <a:endParaRPr lang="de-DE" noProof="0" dirty="0"/>
          </a:p>
          <a:p>
            <a:pPr lvl="2"/>
            <a:r>
              <a:rPr lang="de-DE" noProof="0" dirty="0"/>
              <a:t>1. Ebene, PT Sans, 16 </a:t>
            </a:r>
            <a:r>
              <a:rPr lang="de-DE" noProof="0" dirty="0" err="1"/>
              <a:t>pt</a:t>
            </a:r>
            <a:endParaRPr lang="de-DE" noProof="0" dirty="0"/>
          </a:p>
          <a:p>
            <a:pPr lvl="3"/>
            <a:r>
              <a:rPr lang="de-DE" noProof="0" dirty="0"/>
              <a:t>2. Ebene, PT Sans, 16 </a:t>
            </a:r>
            <a:r>
              <a:rPr lang="de-DE" noProof="0" dirty="0" err="1"/>
              <a:t>pt</a:t>
            </a:r>
            <a:endParaRPr lang="de-DE" noProof="0" dirty="0"/>
          </a:p>
        </p:txBody>
      </p:sp>
    </p:spTree>
    <p:extLst>
      <p:ext uri="{BB962C8B-B14F-4D97-AF65-F5344CB8AC3E}">
        <p14:creationId xmlns:p14="http://schemas.microsoft.com/office/powerpoint/2010/main" val="1532522871"/>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elfolie Logo weiß">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43FD6202-36F7-4094-8992-4EB845450B57}"/>
              </a:ext>
            </a:extLst>
          </p:cNvPr>
          <p:cNvGraphicFramePr>
            <a:graphicFrameLocks noChangeAspect="1"/>
          </p:cNvGraphicFramePr>
          <p:nvPr userDrawn="1">
            <p:custDataLst>
              <p:tags r:id="rId1"/>
            </p:custDataLst>
            <p:extLst>
              <p:ext uri="{D42A27DB-BD31-4B8C-83A1-F6EECF244321}">
                <p14:modId xmlns:p14="http://schemas.microsoft.com/office/powerpoint/2010/main" val="7657310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6" name="Objekt 5" hidden="1">
                        <a:extLst>
                          <a:ext uri="{FF2B5EF4-FFF2-40B4-BE49-F238E27FC236}">
                            <a16:creationId xmlns:a16="http://schemas.microsoft.com/office/drawing/2014/main" id="{43FD6202-36F7-4094-8992-4EB845450B5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Rechteck 7">
            <a:extLst>
              <a:ext uri="{FF2B5EF4-FFF2-40B4-BE49-F238E27FC236}">
                <a16:creationId xmlns:a16="http://schemas.microsoft.com/office/drawing/2014/main" id="{C981FB6B-D507-4213-824B-18B17512BA73}"/>
              </a:ext>
            </a:extLst>
          </p:cNvPr>
          <p:cNvSpPr/>
          <p:nvPr userDrawn="1"/>
        </p:nvSpPr>
        <p:spPr>
          <a:xfrm>
            <a:off x="200437" y="1831107"/>
            <a:ext cx="6677018" cy="481518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44000" rIns="180000" bIns="144000" rtlCol="0" anchor="t"/>
          <a:lstStyle/>
          <a:p>
            <a:pPr algn="l" rtl="0"/>
            <a:endParaRPr lang="de-DE" sz="1600" dirty="0">
              <a:solidFill>
                <a:schemeClr val="bg1"/>
              </a:solidFill>
            </a:endParaRPr>
          </a:p>
        </p:txBody>
      </p:sp>
      <p:sp>
        <p:nvSpPr>
          <p:cNvPr id="13" name="Bildplatzhalter 12">
            <a:extLst>
              <a:ext uri="{FF2B5EF4-FFF2-40B4-BE49-F238E27FC236}">
                <a16:creationId xmlns:a16="http://schemas.microsoft.com/office/drawing/2014/main" id="{EC606F1D-77B6-4ACE-B679-DF41E6C37F4B}"/>
              </a:ext>
            </a:extLst>
          </p:cNvPr>
          <p:cNvSpPr>
            <a:spLocks noGrp="1"/>
          </p:cNvSpPr>
          <p:nvPr>
            <p:ph type="pic" sz="quarter" idx="14" hasCustomPrompt="1"/>
          </p:nvPr>
        </p:nvSpPr>
        <p:spPr bwMode="gray">
          <a:xfrm>
            <a:off x="200438" y="211702"/>
            <a:ext cx="11791121" cy="6434593"/>
          </a:xfrm>
          <a:custGeom>
            <a:avLst/>
            <a:gdLst>
              <a:gd name="connsiteX0" fmla="*/ 11431877 w 11791121"/>
              <a:gd name="connsiteY0" fmla="*/ 251034 h 6434593"/>
              <a:gd name="connsiteX1" fmla="*/ 10467022 w 11791121"/>
              <a:gd name="connsiteY1" fmla="*/ 411772 h 6434593"/>
              <a:gd name="connsiteX2" fmla="*/ 10298349 w 11791121"/>
              <a:gd name="connsiteY2" fmla="*/ 551410 h 6434593"/>
              <a:gd name="connsiteX3" fmla="*/ 10102195 w 11791121"/>
              <a:gd name="connsiteY3" fmla="*/ 1068040 h 6434593"/>
              <a:gd name="connsiteX4" fmla="*/ 10166670 w 11791121"/>
              <a:gd name="connsiteY4" fmla="*/ 1157996 h 6434593"/>
              <a:gd name="connsiteX5" fmla="*/ 11186765 w 11791121"/>
              <a:gd name="connsiteY5" fmla="*/ 1120777 h 6434593"/>
              <a:gd name="connsiteX6" fmla="*/ 11337442 w 11791121"/>
              <a:gd name="connsiteY6" fmla="*/ 1003465 h 6434593"/>
              <a:gd name="connsiteX7" fmla="*/ 11510845 w 11791121"/>
              <a:gd name="connsiteY7" fmla="*/ 340664 h 6434593"/>
              <a:gd name="connsiteX8" fmla="*/ 11431827 w 11791121"/>
              <a:gd name="connsiteY8" fmla="*/ 251109 h 6434593"/>
              <a:gd name="connsiteX9" fmla="*/ 0 w 11791121"/>
              <a:gd name="connsiteY9" fmla="*/ 0 h 6434593"/>
              <a:gd name="connsiteX10" fmla="*/ 11791121 w 11791121"/>
              <a:gd name="connsiteY10" fmla="*/ 0 h 6434593"/>
              <a:gd name="connsiteX11" fmla="*/ 11791121 w 11791121"/>
              <a:gd name="connsiteY11" fmla="*/ 6434593 h 6434593"/>
              <a:gd name="connsiteX12" fmla="*/ 5070577 w 11791121"/>
              <a:gd name="connsiteY12" fmla="*/ 6434593 h 6434593"/>
              <a:gd name="connsiteX13" fmla="*/ 5176620 w 11791121"/>
              <a:gd name="connsiteY13" fmla="*/ 6383214 h 6434593"/>
              <a:gd name="connsiteX14" fmla="*/ 5529571 w 11791121"/>
              <a:gd name="connsiteY14" fmla="*/ 5888242 h 6434593"/>
              <a:gd name="connsiteX15" fmla="*/ 6441050 w 11791121"/>
              <a:gd name="connsiteY15" fmla="*/ 2405411 h 6434593"/>
              <a:gd name="connsiteX16" fmla="*/ 6139310 w 11791121"/>
              <a:gd name="connsiteY16" fmla="*/ 1927714 h 6434593"/>
              <a:gd name="connsiteX17" fmla="*/ 6025426 w 11791121"/>
              <a:gd name="connsiteY17" fmla="*/ 1935861 h 6434593"/>
              <a:gd name="connsiteX18" fmla="*/ 955068 w 11791121"/>
              <a:gd name="connsiteY18" fmla="*/ 2780263 h 6434593"/>
              <a:gd name="connsiteX19" fmla="*/ 68578 w 11791121"/>
              <a:gd name="connsiteY19" fmla="*/ 3514183 h 6434593"/>
              <a:gd name="connsiteX20" fmla="*/ 36064 w 11791121"/>
              <a:gd name="connsiteY20" fmla="*/ 3582576 h 6434593"/>
              <a:gd name="connsiteX21" fmla="*/ 0 w 11791121"/>
              <a:gd name="connsiteY21" fmla="*/ 3664408 h 64345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1791121" h="6434593">
                <a:moveTo>
                  <a:pt x="11431877" y="251034"/>
                </a:moveTo>
                <a:cubicBezTo>
                  <a:pt x="11369530" y="260720"/>
                  <a:pt x="10531773" y="394351"/>
                  <a:pt x="10467022" y="411772"/>
                </a:cubicBezTo>
                <a:cubicBezTo>
                  <a:pt x="10388855" y="432746"/>
                  <a:pt x="10337771" y="472843"/>
                  <a:pt x="10298349" y="551410"/>
                </a:cubicBezTo>
                <a:cubicBezTo>
                  <a:pt x="10258928" y="629977"/>
                  <a:pt x="10121092" y="1016480"/>
                  <a:pt x="10102195" y="1068040"/>
                </a:cubicBezTo>
                <a:cubicBezTo>
                  <a:pt x="10083298" y="1119601"/>
                  <a:pt x="10108827" y="1160298"/>
                  <a:pt x="10166670" y="1157996"/>
                </a:cubicBezTo>
                <a:cubicBezTo>
                  <a:pt x="10222135" y="1155718"/>
                  <a:pt x="11186765" y="1120777"/>
                  <a:pt x="11186765" y="1120777"/>
                </a:cubicBezTo>
                <a:cubicBezTo>
                  <a:pt x="11277722" y="1116697"/>
                  <a:pt x="11321924" y="1062884"/>
                  <a:pt x="11337442" y="1003465"/>
                </a:cubicBezTo>
                <a:cubicBezTo>
                  <a:pt x="11337442" y="1003465"/>
                  <a:pt x="11495127" y="401535"/>
                  <a:pt x="11510845" y="340664"/>
                </a:cubicBezTo>
                <a:cubicBezTo>
                  <a:pt x="11527189" y="277740"/>
                  <a:pt x="11493099" y="241597"/>
                  <a:pt x="11431827" y="251109"/>
                </a:cubicBezTo>
                <a:close/>
                <a:moveTo>
                  <a:pt x="0" y="0"/>
                </a:moveTo>
                <a:lnTo>
                  <a:pt x="11791121" y="0"/>
                </a:lnTo>
                <a:lnTo>
                  <a:pt x="11791121" y="6434593"/>
                </a:lnTo>
                <a:lnTo>
                  <a:pt x="5070577" y="6434593"/>
                </a:lnTo>
                <a:lnTo>
                  <a:pt x="5176620" y="6383214"/>
                </a:lnTo>
                <a:cubicBezTo>
                  <a:pt x="5368553" y="6267717"/>
                  <a:pt x="5478604" y="6083888"/>
                  <a:pt x="5529571" y="5888242"/>
                </a:cubicBezTo>
                <a:cubicBezTo>
                  <a:pt x="5529571" y="5888242"/>
                  <a:pt x="6358189" y="2725022"/>
                  <a:pt x="6441050" y="2405411"/>
                </a:cubicBezTo>
                <a:cubicBezTo>
                  <a:pt x="6515856" y="2115394"/>
                  <a:pt x="6388254" y="1934133"/>
                  <a:pt x="6139310" y="1927714"/>
                </a:cubicBezTo>
                <a:cubicBezTo>
                  <a:pt x="6103747" y="1926798"/>
                  <a:pt x="6065707" y="1929449"/>
                  <a:pt x="6025426" y="1935861"/>
                </a:cubicBezTo>
                <a:cubicBezTo>
                  <a:pt x="5697924" y="1985842"/>
                  <a:pt x="1295722" y="2688195"/>
                  <a:pt x="955068" y="2780263"/>
                </a:cubicBezTo>
                <a:cubicBezTo>
                  <a:pt x="544705" y="2890746"/>
                  <a:pt x="276390" y="3101188"/>
                  <a:pt x="68578" y="3514183"/>
                </a:cubicBezTo>
                <a:cubicBezTo>
                  <a:pt x="58836" y="3533542"/>
                  <a:pt x="47959" y="3556456"/>
                  <a:pt x="36064" y="3582576"/>
                </a:cubicBezTo>
                <a:lnTo>
                  <a:pt x="0" y="3664408"/>
                </a:lnTo>
                <a:close/>
              </a:path>
            </a:pathLst>
          </a:custGeom>
          <a:solidFill>
            <a:schemeClr val="bg2"/>
          </a:solidFill>
        </p:spPr>
        <p:txBody>
          <a:bodyPr wrap="square" lIns="108014" tIns="36005">
            <a:noAutofit/>
          </a:bodyPr>
          <a:lstStyle>
            <a:lvl1pPr>
              <a:spcAft>
                <a:spcPts val="0"/>
              </a:spcAft>
              <a:defRPr sz="1600" b="0">
                <a:sym typeface="Wingdings" panose="05000000000000000000" pitchFamily="2" charset="2"/>
              </a:defRPr>
            </a:lvl1pPr>
          </a:lstStyle>
          <a:p>
            <a:r>
              <a:rPr lang="de-DE" noProof="0" dirty="0"/>
              <a:t>Hier geht’s zur Bilder-Bibliothek:  Schnellzugriff  </a:t>
            </a:r>
            <a:r>
              <a:rPr lang="de-DE" noProof="0" dirty="0" err="1"/>
              <a:t>PPT_Bilder_Vorlagen</a:t>
            </a:r>
            <a:endParaRPr lang="de-DE" noProof="0" dirty="0"/>
          </a:p>
        </p:txBody>
      </p:sp>
      <p:sp>
        <p:nvSpPr>
          <p:cNvPr id="2" name="Titel 1">
            <a:extLst>
              <a:ext uri="{FF2B5EF4-FFF2-40B4-BE49-F238E27FC236}">
                <a16:creationId xmlns:a16="http://schemas.microsoft.com/office/drawing/2014/main" id="{5E46ADA1-AF22-413A-A734-CCC1D9AD7797}"/>
              </a:ext>
            </a:extLst>
          </p:cNvPr>
          <p:cNvSpPr>
            <a:spLocks noGrp="1"/>
          </p:cNvSpPr>
          <p:nvPr>
            <p:ph type="ctrTitle" hasCustomPrompt="1"/>
          </p:nvPr>
        </p:nvSpPr>
        <p:spPr bwMode="gray">
          <a:xfrm>
            <a:off x="745185" y="3805389"/>
            <a:ext cx="5094302" cy="993092"/>
          </a:xfrm>
        </p:spPr>
        <p:txBody>
          <a:bodyPr vert="horz" anchor="b">
            <a:normAutofit/>
          </a:bodyPr>
          <a:lstStyle>
            <a:lvl1pPr algn="l" rtl="0">
              <a:lnSpc>
                <a:spcPct val="80000"/>
              </a:lnSpc>
              <a:defRPr sz="4000" b="1">
                <a:solidFill>
                  <a:schemeClr val="accent1"/>
                </a:solidFill>
              </a:defRPr>
            </a:lvl1pPr>
          </a:lstStyle>
          <a:p>
            <a:r>
              <a:rPr lang="de-DE" noProof="0" dirty="0"/>
              <a:t>Titel der Präsentation,</a:t>
            </a:r>
            <a:br>
              <a:rPr lang="de-DE" noProof="0" dirty="0"/>
            </a:br>
            <a:r>
              <a:rPr lang="de-DE" noProof="0" dirty="0"/>
              <a:t>max. 2 Zeilen</a:t>
            </a:r>
          </a:p>
        </p:txBody>
      </p:sp>
      <p:sp>
        <p:nvSpPr>
          <p:cNvPr id="3" name="Untertitel 2">
            <a:extLst>
              <a:ext uri="{FF2B5EF4-FFF2-40B4-BE49-F238E27FC236}">
                <a16:creationId xmlns:a16="http://schemas.microsoft.com/office/drawing/2014/main" id="{258D0788-6273-4724-9B62-0B33B18BC6BD}"/>
              </a:ext>
            </a:extLst>
          </p:cNvPr>
          <p:cNvSpPr>
            <a:spLocks noGrp="1"/>
          </p:cNvSpPr>
          <p:nvPr>
            <p:ph type="subTitle" idx="1" hasCustomPrompt="1"/>
          </p:nvPr>
        </p:nvSpPr>
        <p:spPr bwMode="gray">
          <a:xfrm>
            <a:off x="745183" y="4841551"/>
            <a:ext cx="5094301" cy="615553"/>
          </a:xfrm>
        </p:spPr>
        <p:txBody>
          <a:bodyPr>
            <a:noAutofit/>
          </a:bodyPr>
          <a:lstStyle>
            <a:lvl1pPr marL="0" indent="0" algn="l" rtl="0">
              <a:spcAft>
                <a:spcPts val="0"/>
              </a:spcAft>
              <a:buNone/>
              <a:defRPr sz="2000" b="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noProof="0" dirty="0"/>
              <a:t>Untertitel, </a:t>
            </a:r>
            <a:br>
              <a:rPr lang="de-DE" noProof="0" dirty="0"/>
            </a:br>
            <a:r>
              <a:rPr lang="de-DE" noProof="0" dirty="0"/>
              <a:t>max. 2 Zeilen</a:t>
            </a:r>
          </a:p>
        </p:txBody>
      </p:sp>
      <p:sp>
        <p:nvSpPr>
          <p:cNvPr id="9" name="Textplatzhalter 8">
            <a:extLst>
              <a:ext uri="{FF2B5EF4-FFF2-40B4-BE49-F238E27FC236}">
                <a16:creationId xmlns:a16="http://schemas.microsoft.com/office/drawing/2014/main" id="{F963E73E-C3B7-4B41-882B-6480581EA544}"/>
              </a:ext>
            </a:extLst>
          </p:cNvPr>
          <p:cNvSpPr>
            <a:spLocks noGrp="1"/>
          </p:cNvSpPr>
          <p:nvPr>
            <p:ph type="body" sz="quarter" idx="13" hasCustomPrompt="1"/>
          </p:nvPr>
        </p:nvSpPr>
        <p:spPr bwMode="gray">
          <a:xfrm>
            <a:off x="745184" y="5851632"/>
            <a:ext cx="3320978" cy="369332"/>
          </a:xfrm>
        </p:spPr>
        <p:txBody>
          <a:bodyPr wrap="square">
            <a:noAutofit/>
          </a:bodyPr>
          <a:lstStyle>
            <a:lvl1pPr rtl="0">
              <a:spcAft>
                <a:spcPts val="0"/>
              </a:spcAft>
              <a:defRPr sz="1200" b="0">
                <a:solidFill>
                  <a:schemeClr val="bg1"/>
                </a:solidFill>
              </a:defRPr>
            </a:lvl1pPr>
          </a:lstStyle>
          <a:p>
            <a:pPr lvl="0"/>
            <a:r>
              <a:rPr lang="de-DE" noProof="0" dirty="0"/>
              <a:t>Name, Abteilung</a:t>
            </a:r>
          </a:p>
          <a:p>
            <a:pPr lvl="0"/>
            <a:r>
              <a:rPr lang="de-DE" noProof="0" dirty="0"/>
              <a:t>Ort, Datum</a:t>
            </a:r>
          </a:p>
        </p:txBody>
      </p:sp>
      <p:sp>
        <p:nvSpPr>
          <p:cNvPr id="12" name="Freihandform: Form 11">
            <a:extLst>
              <a:ext uri="{FF2B5EF4-FFF2-40B4-BE49-F238E27FC236}">
                <a16:creationId xmlns:a16="http://schemas.microsoft.com/office/drawing/2014/main" id="{9D7E1AF7-1BA0-4574-BB3F-D43E3176C63B}"/>
              </a:ext>
            </a:extLst>
          </p:cNvPr>
          <p:cNvSpPr/>
          <p:nvPr userDrawn="1"/>
        </p:nvSpPr>
        <p:spPr>
          <a:xfrm>
            <a:off x="10442163" y="762329"/>
            <a:ext cx="977020" cy="497591"/>
          </a:xfrm>
          <a:custGeom>
            <a:avLst/>
            <a:gdLst>
              <a:gd name="connsiteX0" fmla="*/ 514353 w 977020"/>
              <a:gd name="connsiteY0" fmla="*/ 411433 h 497591"/>
              <a:gd name="connsiteX1" fmla="*/ 495255 w 977020"/>
              <a:gd name="connsiteY1" fmla="*/ 414837 h 497591"/>
              <a:gd name="connsiteX2" fmla="*/ 482040 w 977020"/>
              <a:gd name="connsiteY2" fmla="*/ 422346 h 497591"/>
              <a:gd name="connsiteX3" fmla="*/ 477034 w 977020"/>
              <a:gd name="connsiteY3" fmla="*/ 434861 h 497591"/>
              <a:gd name="connsiteX4" fmla="*/ 483291 w 977020"/>
              <a:gd name="connsiteY4" fmla="*/ 451305 h 497591"/>
              <a:gd name="connsiteX5" fmla="*/ 500587 w 977020"/>
              <a:gd name="connsiteY5" fmla="*/ 457162 h 497591"/>
              <a:gd name="connsiteX6" fmla="*/ 524014 w 977020"/>
              <a:gd name="connsiteY6" fmla="*/ 450554 h 497591"/>
              <a:gd name="connsiteX7" fmla="*/ 536879 w 977020"/>
              <a:gd name="connsiteY7" fmla="*/ 436363 h 497591"/>
              <a:gd name="connsiteX8" fmla="*/ 536879 w 977020"/>
              <a:gd name="connsiteY8" fmla="*/ 411809 h 497591"/>
              <a:gd name="connsiteX9" fmla="*/ 514353 w 977020"/>
              <a:gd name="connsiteY9" fmla="*/ 411433 h 497591"/>
              <a:gd name="connsiteX10" fmla="*/ 823064 w 977020"/>
              <a:gd name="connsiteY10" fmla="*/ 305384 h 497591"/>
              <a:gd name="connsiteX11" fmla="*/ 971288 w 977020"/>
              <a:gd name="connsiteY11" fmla="*/ 305384 h 497591"/>
              <a:gd name="connsiteX12" fmla="*/ 971288 w 977020"/>
              <a:gd name="connsiteY12" fmla="*/ 347033 h 497591"/>
              <a:gd name="connsiteX13" fmla="*/ 897552 w 977020"/>
              <a:gd name="connsiteY13" fmla="*/ 438215 h 497591"/>
              <a:gd name="connsiteX14" fmla="*/ 878655 w 977020"/>
              <a:gd name="connsiteY14" fmla="*/ 452957 h 497591"/>
              <a:gd name="connsiteX15" fmla="*/ 971263 w 977020"/>
              <a:gd name="connsiteY15" fmla="*/ 452957 h 497591"/>
              <a:gd name="connsiteX16" fmla="*/ 971263 w 977020"/>
              <a:gd name="connsiteY16" fmla="*/ 494556 h 497591"/>
              <a:gd name="connsiteX17" fmla="*/ 823064 w 977020"/>
              <a:gd name="connsiteY17" fmla="*/ 494556 h 497591"/>
              <a:gd name="connsiteX18" fmla="*/ 823064 w 977020"/>
              <a:gd name="connsiteY18" fmla="*/ 452957 h 497591"/>
              <a:gd name="connsiteX19" fmla="*/ 897552 w 977020"/>
              <a:gd name="connsiteY19" fmla="*/ 363352 h 497591"/>
              <a:gd name="connsiteX20" fmla="*/ 916824 w 977020"/>
              <a:gd name="connsiteY20" fmla="*/ 347083 h 497591"/>
              <a:gd name="connsiteX21" fmla="*/ 823064 w 977020"/>
              <a:gd name="connsiteY21" fmla="*/ 347083 h 497591"/>
              <a:gd name="connsiteX22" fmla="*/ 517607 w 977020"/>
              <a:gd name="connsiteY22" fmla="*/ 301705 h 497591"/>
              <a:gd name="connsiteX23" fmla="*/ 550495 w 977020"/>
              <a:gd name="connsiteY23" fmla="*/ 306435 h 497591"/>
              <a:gd name="connsiteX24" fmla="*/ 582457 w 977020"/>
              <a:gd name="connsiteY24" fmla="*/ 340650 h 497591"/>
              <a:gd name="connsiteX25" fmla="*/ 585686 w 977020"/>
              <a:gd name="connsiteY25" fmla="*/ 367882 h 497591"/>
              <a:gd name="connsiteX26" fmla="*/ 584535 w 977020"/>
              <a:gd name="connsiteY26" fmla="*/ 401346 h 497591"/>
              <a:gd name="connsiteX27" fmla="*/ 583183 w 977020"/>
              <a:gd name="connsiteY27" fmla="*/ 434435 h 497591"/>
              <a:gd name="connsiteX28" fmla="*/ 584109 w 977020"/>
              <a:gd name="connsiteY28" fmla="*/ 465997 h 497591"/>
              <a:gd name="connsiteX29" fmla="*/ 589791 w 977020"/>
              <a:gd name="connsiteY29" fmla="*/ 494931 h 497591"/>
              <a:gd name="connsiteX30" fmla="*/ 549744 w 977020"/>
              <a:gd name="connsiteY30" fmla="*/ 494931 h 497591"/>
              <a:gd name="connsiteX31" fmla="*/ 541785 w 977020"/>
              <a:gd name="connsiteY31" fmla="*/ 468851 h 497591"/>
              <a:gd name="connsiteX32" fmla="*/ 539908 w 977020"/>
              <a:gd name="connsiteY32" fmla="*/ 468851 h 497591"/>
              <a:gd name="connsiteX33" fmla="*/ 518933 w 977020"/>
              <a:gd name="connsiteY33" fmla="*/ 489074 h 497591"/>
              <a:gd name="connsiteX34" fmla="*/ 484317 w 977020"/>
              <a:gd name="connsiteY34" fmla="*/ 497584 h 497591"/>
              <a:gd name="connsiteX35" fmla="*/ 460490 w 977020"/>
              <a:gd name="connsiteY35" fmla="*/ 493605 h 497591"/>
              <a:gd name="connsiteX36" fmla="*/ 430505 w 977020"/>
              <a:gd name="connsiteY36" fmla="*/ 464871 h 497591"/>
              <a:gd name="connsiteX37" fmla="*/ 426350 w 977020"/>
              <a:gd name="connsiteY37" fmla="*/ 442345 h 497591"/>
              <a:gd name="connsiteX38" fmla="*/ 434084 w 977020"/>
              <a:gd name="connsiteY38" fmla="*/ 413035 h 497591"/>
              <a:gd name="connsiteX39" fmla="*/ 456410 w 977020"/>
              <a:gd name="connsiteY39" fmla="*/ 393763 h 497591"/>
              <a:gd name="connsiteX40" fmla="*/ 491201 w 977020"/>
              <a:gd name="connsiteY40" fmla="*/ 383551 h 497591"/>
              <a:gd name="connsiteX41" fmla="*/ 536378 w 977020"/>
              <a:gd name="connsiteY41" fmla="*/ 381849 h 497591"/>
              <a:gd name="connsiteX42" fmla="*/ 533350 w 977020"/>
              <a:gd name="connsiteY42" fmla="*/ 351413 h 497591"/>
              <a:gd name="connsiteX43" fmla="*/ 533475 w 977020"/>
              <a:gd name="connsiteY43" fmla="*/ 351438 h 497591"/>
              <a:gd name="connsiteX44" fmla="*/ 508145 w 977020"/>
              <a:gd name="connsiteY44" fmla="*/ 342177 h 497591"/>
              <a:gd name="connsiteX45" fmla="*/ 476959 w 977020"/>
              <a:gd name="connsiteY45" fmla="*/ 345206 h 497591"/>
              <a:gd name="connsiteX46" fmla="*/ 449902 w 977020"/>
              <a:gd name="connsiteY46" fmla="*/ 353140 h 497591"/>
              <a:gd name="connsiteX47" fmla="*/ 438189 w 977020"/>
              <a:gd name="connsiteY47" fmla="*/ 316472 h 497591"/>
              <a:gd name="connsiteX48" fmla="*/ 474105 w 977020"/>
              <a:gd name="connsiteY48" fmla="*/ 305684 h 497591"/>
              <a:gd name="connsiteX49" fmla="*/ 517607 w 977020"/>
              <a:gd name="connsiteY49" fmla="*/ 301705 h 497591"/>
              <a:gd name="connsiteX50" fmla="*/ 339448 w 977020"/>
              <a:gd name="connsiteY50" fmla="*/ 300253 h 497591"/>
              <a:gd name="connsiteX51" fmla="*/ 364477 w 977020"/>
              <a:gd name="connsiteY51" fmla="*/ 304032 h 497591"/>
              <a:gd name="connsiteX52" fmla="*/ 383024 w 977020"/>
              <a:gd name="connsiteY52" fmla="*/ 316547 h 497591"/>
              <a:gd name="connsiteX53" fmla="*/ 394362 w 977020"/>
              <a:gd name="connsiteY53" fmla="*/ 340175 h 497591"/>
              <a:gd name="connsiteX54" fmla="*/ 397966 w 977020"/>
              <a:gd name="connsiteY54" fmla="*/ 377068 h 497591"/>
              <a:gd name="connsiteX55" fmla="*/ 397966 w 977020"/>
              <a:gd name="connsiteY55" fmla="*/ 494706 h 497591"/>
              <a:gd name="connsiteX56" fmla="*/ 348909 w 977020"/>
              <a:gd name="connsiteY56" fmla="*/ 494706 h 497591"/>
              <a:gd name="connsiteX57" fmla="*/ 348909 w 977020"/>
              <a:gd name="connsiteY57" fmla="*/ 387080 h 497591"/>
              <a:gd name="connsiteX58" fmla="*/ 342276 w 977020"/>
              <a:gd name="connsiteY58" fmla="*/ 353816 h 497591"/>
              <a:gd name="connsiteX59" fmla="*/ 319750 w 977020"/>
              <a:gd name="connsiteY59" fmla="*/ 343604 h 497591"/>
              <a:gd name="connsiteX60" fmla="*/ 296097 w 977020"/>
              <a:gd name="connsiteY60" fmla="*/ 351738 h 497591"/>
              <a:gd name="connsiteX61" fmla="*/ 282306 w 977020"/>
              <a:gd name="connsiteY61" fmla="*/ 371962 h 497591"/>
              <a:gd name="connsiteX62" fmla="*/ 282306 w 977020"/>
              <a:gd name="connsiteY62" fmla="*/ 494481 h 497591"/>
              <a:gd name="connsiteX63" fmla="*/ 233198 w 977020"/>
              <a:gd name="connsiteY63" fmla="*/ 494481 h 497591"/>
              <a:gd name="connsiteX64" fmla="*/ 233198 w 977020"/>
              <a:gd name="connsiteY64" fmla="*/ 305484 h 497591"/>
              <a:gd name="connsiteX65" fmla="*/ 272144 w 977020"/>
              <a:gd name="connsiteY65" fmla="*/ 305484 h 497591"/>
              <a:gd name="connsiteX66" fmla="*/ 277826 w 977020"/>
              <a:gd name="connsiteY66" fmla="*/ 330514 h 497591"/>
              <a:gd name="connsiteX67" fmla="*/ 279327 w 977020"/>
              <a:gd name="connsiteY67" fmla="*/ 330514 h 497591"/>
              <a:gd name="connsiteX68" fmla="*/ 302404 w 977020"/>
              <a:gd name="connsiteY68" fmla="*/ 309339 h 497591"/>
              <a:gd name="connsiteX69" fmla="*/ 339448 w 977020"/>
              <a:gd name="connsiteY69" fmla="*/ 300253 h 497591"/>
              <a:gd name="connsiteX70" fmla="*/ 733109 w 977020"/>
              <a:gd name="connsiteY70" fmla="*/ 300228 h 497591"/>
              <a:gd name="connsiteX71" fmla="*/ 758138 w 977020"/>
              <a:gd name="connsiteY71" fmla="*/ 304007 h 497591"/>
              <a:gd name="connsiteX72" fmla="*/ 776685 w 977020"/>
              <a:gd name="connsiteY72" fmla="*/ 316522 h 497591"/>
              <a:gd name="connsiteX73" fmla="*/ 788023 w 977020"/>
              <a:gd name="connsiteY73" fmla="*/ 340150 h 497591"/>
              <a:gd name="connsiteX74" fmla="*/ 791678 w 977020"/>
              <a:gd name="connsiteY74" fmla="*/ 377068 h 497591"/>
              <a:gd name="connsiteX75" fmla="*/ 791678 w 977020"/>
              <a:gd name="connsiteY75" fmla="*/ 494706 h 497591"/>
              <a:gd name="connsiteX76" fmla="*/ 742520 w 977020"/>
              <a:gd name="connsiteY76" fmla="*/ 494706 h 497591"/>
              <a:gd name="connsiteX77" fmla="*/ 742520 w 977020"/>
              <a:gd name="connsiteY77" fmla="*/ 387080 h 497591"/>
              <a:gd name="connsiteX78" fmla="*/ 735912 w 977020"/>
              <a:gd name="connsiteY78" fmla="*/ 353816 h 497591"/>
              <a:gd name="connsiteX79" fmla="*/ 713386 w 977020"/>
              <a:gd name="connsiteY79" fmla="*/ 343604 h 497591"/>
              <a:gd name="connsiteX80" fmla="*/ 689758 w 977020"/>
              <a:gd name="connsiteY80" fmla="*/ 351738 h 497591"/>
              <a:gd name="connsiteX81" fmla="*/ 675942 w 977020"/>
              <a:gd name="connsiteY81" fmla="*/ 371962 h 497591"/>
              <a:gd name="connsiteX82" fmla="*/ 675942 w 977020"/>
              <a:gd name="connsiteY82" fmla="*/ 494481 h 497591"/>
              <a:gd name="connsiteX83" fmla="*/ 626810 w 977020"/>
              <a:gd name="connsiteY83" fmla="*/ 494481 h 497591"/>
              <a:gd name="connsiteX84" fmla="*/ 626734 w 977020"/>
              <a:gd name="connsiteY84" fmla="*/ 305459 h 497591"/>
              <a:gd name="connsiteX85" fmla="*/ 665780 w 977020"/>
              <a:gd name="connsiteY85" fmla="*/ 305459 h 497591"/>
              <a:gd name="connsiteX86" fmla="*/ 671462 w 977020"/>
              <a:gd name="connsiteY86" fmla="*/ 330489 h 497591"/>
              <a:gd name="connsiteX87" fmla="*/ 672989 w 977020"/>
              <a:gd name="connsiteY87" fmla="*/ 330489 h 497591"/>
              <a:gd name="connsiteX88" fmla="*/ 696041 w 977020"/>
              <a:gd name="connsiteY88" fmla="*/ 309314 h 497591"/>
              <a:gd name="connsiteX89" fmla="*/ 733109 w 977020"/>
              <a:gd name="connsiteY89" fmla="*/ 300228 h 497591"/>
              <a:gd name="connsiteX90" fmla="*/ 730506 w 977020"/>
              <a:gd name="connsiteY90" fmla="*/ 115762 h 497591"/>
              <a:gd name="connsiteX91" fmla="*/ 699295 w 977020"/>
              <a:gd name="connsiteY91" fmla="*/ 129753 h 497591"/>
              <a:gd name="connsiteX92" fmla="*/ 688907 w 977020"/>
              <a:gd name="connsiteY92" fmla="*/ 177785 h 497591"/>
              <a:gd name="connsiteX93" fmla="*/ 697417 w 977020"/>
              <a:gd name="connsiteY93" fmla="*/ 216730 h 497591"/>
              <a:gd name="connsiteX94" fmla="*/ 724449 w 977020"/>
              <a:gd name="connsiteY94" fmla="*/ 231472 h 497591"/>
              <a:gd name="connsiteX95" fmla="*/ 747125 w 977020"/>
              <a:gd name="connsiteY95" fmla="*/ 224464 h 497591"/>
              <a:gd name="connsiteX96" fmla="*/ 747125 w 977020"/>
              <a:gd name="connsiteY96" fmla="*/ 224389 h 497591"/>
              <a:gd name="connsiteX97" fmla="*/ 758864 w 977020"/>
              <a:gd name="connsiteY97" fmla="*/ 204166 h 497591"/>
              <a:gd name="connsiteX98" fmla="*/ 758864 w 977020"/>
              <a:gd name="connsiteY98" fmla="*/ 124072 h 497591"/>
              <a:gd name="connsiteX99" fmla="*/ 747125 w 977020"/>
              <a:gd name="connsiteY99" fmla="*/ 117839 h 497591"/>
              <a:gd name="connsiteX100" fmla="*/ 730506 w 977020"/>
              <a:gd name="connsiteY100" fmla="*/ 115762 h 497591"/>
              <a:gd name="connsiteX101" fmla="*/ 327108 w 977020"/>
              <a:gd name="connsiteY101" fmla="*/ 114986 h 497591"/>
              <a:gd name="connsiteX102" fmla="*/ 298750 w 977020"/>
              <a:gd name="connsiteY102" fmla="*/ 128602 h 497591"/>
              <a:gd name="connsiteX103" fmla="*/ 288538 w 977020"/>
              <a:gd name="connsiteY103" fmla="*/ 173204 h 497591"/>
              <a:gd name="connsiteX104" fmla="*/ 290816 w 977020"/>
              <a:gd name="connsiteY104" fmla="*/ 196281 h 497591"/>
              <a:gd name="connsiteX105" fmla="*/ 297599 w 977020"/>
              <a:gd name="connsiteY105" fmla="*/ 214803 h 497591"/>
              <a:gd name="connsiteX106" fmla="*/ 309513 w 977020"/>
              <a:gd name="connsiteY106" fmla="*/ 227092 h 497591"/>
              <a:gd name="connsiteX107" fmla="*/ 327033 w 977020"/>
              <a:gd name="connsiteY107" fmla="*/ 231447 h 497591"/>
              <a:gd name="connsiteX108" fmla="*/ 355767 w 977020"/>
              <a:gd name="connsiteY108" fmla="*/ 217456 h 497591"/>
              <a:gd name="connsiteX109" fmla="*/ 355842 w 977020"/>
              <a:gd name="connsiteY109" fmla="*/ 217456 h 497591"/>
              <a:gd name="connsiteX110" fmla="*/ 365303 w 977020"/>
              <a:gd name="connsiteY110" fmla="*/ 173204 h 497591"/>
              <a:gd name="connsiteX111" fmla="*/ 356593 w 977020"/>
              <a:gd name="connsiteY111" fmla="*/ 131055 h 497591"/>
              <a:gd name="connsiteX112" fmla="*/ 327108 w 977020"/>
              <a:gd name="connsiteY112" fmla="*/ 114986 h 497591"/>
              <a:gd name="connsiteX113" fmla="*/ 906262 w 977020"/>
              <a:gd name="connsiteY113" fmla="*/ 73413 h 497591"/>
              <a:gd name="connsiteX114" fmla="*/ 945207 w 977020"/>
              <a:gd name="connsiteY114" fmla="*/ 77968 h 497591"/>
              <a:gd name="connsiteX115" fmla="*/ 972439 w 977020"/>
              <a:gd name="connsiteY115" fmla="*/ 88155 h 497591"/>
              <a:gd name="connsiteX116" fmla="*/ 961477 w 977020"/>
              <a:gd name="connsiteY116" fmla="*/ 123721 h 497591"/>
              <a:gd name="connsiteX117" fmla="*/ 939551 w 977020"/>
              <a:gd name="connsiteY117" fmla="*/ 116538 h 497591"/>
              <a:gd name="connsiteX118" fmla="*/ 912694 w 977020"/>
              <a:gd name="connsiteY118" fmla="*/ 112734 h 497591"/>
              <a:gd name="connsiteX119" fmla="*/ 896250 w 977020"/>
              <a:gd name="connsiteY119" fmla="*/ 116989 h 497591"/>
              <a:gd name="connsiteX120" fmla="*/ 890833 w 977020"/>
              <a:gd name="connsiteY120" fmla="*/ 129603 h 497591"/>
              <a:gd name="connsiteX121" fmla="*/ 890819 w 977020"/>
              <a:gd name="connsiteY121" fmla="*/ 129578 h 497591"/>
              <a:gd name="connsiteX122" fmla="*/ 890769 w 977020"/>
              <a:gd name="connsiteY122" fmla="*/ 129753 h 497591"/>
              <a:gd name="connsiteX123" fmla="*/ 890833 w 977020"/>
              <a:gd name="connsiteY123" fmla="*/ 129603 h 497591"/>
              <a:gd name="connsiteX124" fmla="*/ 897226 w 977020"/>
              <a:gd name="connsiteY124" fmla="*/ 140541 h 497591"/>
              <a:gd name="connsiteX125" fmla="*/ 913120 w 977020"/>
              <a:gd name="connsiteY125" fmla="*/ 148300 h 497591"/>
              <a:gd name="connsiteX126" fmla="*/ 933919 w 977020"/>
              <a:gd name="connsiteY126" fmla="*/ 156059 h 497591"/>
              <a:gd name="connsiteX127" fmla="*/ 954719 w 977020"/>
              <a:gd name="connsiteY127" fmla="*/ 166822 h 497591"/>
              <a:gd name="connsiteX128" fmla="*/ 970612 w 977020"/>
              <a:gd name="connsiteY128" fmla="*/ 184042 h 497591"/>
              <a:gd name="connsiteX129" fmla="*/ 977020 w 977020"/>
              <a:gd name="connsiteY129" fmla="*/ 211249 h 497591"/>
              <a:gd name="connsiteX130" fmla="*/ 958698 w 977020"/>
              <a:gd name="connsiteY130" fmla="*/ 256301 h 497591"/>
              <a:gd name="connsiteX131" fmla="*/ 903634 w 977020"/>
              <a:gd name="connsiteY131" fmla="*/ 272771 h 497591"/>
              <a:gd name="connsiteX132" fmla="*/ 866090 w 977020"/>
              <a:gd name="connsiteY132" fmla="*/ 267765 h 497591"/>
              <a:gd name="connsiteX133" fmla="*/ 837557 w 977020"/>
              <a:gd name="connsiteY133" fmla="*/ 255851 h 497591"/>
              <a:gd name="connsiteX134" fmla="*/ 851122 w 977020"/>
              <a:gd name="connsiteY134" fmla="*/ 219383 h 497591"/>
              <a:gd name="connsiteX135" fmla="*/ 874174 w 977020"/>
              <a:gd name="connsiteY135" fmla="*/ 229020 h 497591"/>
              <a:gd name="connsiteX136" fmla="*/ 903684 w 977020"/>
              <a:gd name="connsiteY136" fmla="*/ 233725 h 497591"/>
              <a:gd name="connsiteX137" fmla="*/ 921204 w 977020"/>
              <a:gd name="connsiteY137" fmla="*/ 229570 h 497591"/>
              <a:gd name="connsiteX138" fmla="*/ 927837 w 977020"/>
              <a:gd name="connsiteY138" fmla="*/ 215604 h 497591"/>
              <a:gd name="connsiteX139" fmla="*/ 921405 w 977020"/>
              <a:gd name="connsiteY139" fmla="*/ 203490 h 497591"/>
              <a:gd name="connsiteX140" fmla="*/ 905511 w 977020"/>
              <a:gd name="connsiteY140" fmla="*/ 195180 h 497591"/>
              <a:gd name="connsiteX141" fmla="*/ 884711 w 977020"/>
              <a:gd name="connsiteY141" fmla="*/ 187421 h 497591"/>
              <a:gd name="connsiteX142" fmla="*/ 863937 w 977020"/>
              <a:gd name="connsiteY142" fmla="*/ 176458 h 497591"/>
              <a:gd name="connsiteX143" fmla="*/ 848044 w 977020"/>
              <a:gd name="connsiteY143" fmla="*/ 158687 h 497591"/>
              <a:gd name="connsiteX144" fmla="*/ 841611 w 977020"/>
              <a:gd name="connsiteY144" fmla="*/ 130880 h 497591"/>
              <a:gd name="connsiteX145" fmla="*/ 858256 w 977020"/>
              <a:gd name="connsiteY145" fmla="*/ 88155 h 497591"/>
              <a:gd name="connsiteX146" fmla="*/ 906262 w 977020"/>
              <a:gd name="connsiteY146" fmla="*/ 73413 h 497591"/>
              <a:gd name="connsiteX147" fmla="*/ 548993 w 977020"/>
              <a:gd name="connsiteY147" fmla="*/ 73413 h 497591"/>
              <a:gd name="connsiteX148" fmla="*/ 574023 w 977020"/>
              <a:gd name="connsiteY148" fmla="*/ 77192 h 497591"/>
              <a:gd name="connsiteX149" fmla="*/ 592544 w 977020"/>
              <a:gd name="connsiteY149" fmla="*/ 89706 h 497591"/>
              <a:gd name="connsiteX150" fmla="*/ 603883 w 977020"/>
              <a:gd name="connsiteY150" fmla="*/ 113334 h 497591"/>
              <a:gd name="connsiteX151" fmla="*/ 607662 w 977020"/>
              <a:gd name="connsiteY151" fmla="*/ 150202 h 497591"/>
              <a:gd name="connsiteX152" fmla="*/ 607537 w 977020"/>
              <a:gd name="connsiteY152" fmla="*/ 267665 h 497591"/>
              <a:gd name="connsiteX153" fmla="*/ 558454 w 977020"/>
              <a:gd name="connsiteY153" fmla="*/ 267665 h 497591"/>
              <a:gd name="connsiteX154" fmla="*/ 558454 w 977020"/>
              <a:gd name="connsiteY154" fmla="*/ 160314 h 497591"/>
              <a:gd name="connsiteX155" fmla="*/ 551847 w 977020"/>
              <a:gd name="connsiteY155" fmla="*/ 127025 h 497591"/>
              <a:gd name="connsiteX156" fmla="*/ 529320 w 977020"/>
              <a:gd name="connsiteY156" fmla="*/ 116838 h 497591"/>
              <a:gd name="connsiteX157" fmla="*/ 505693 w 977020"/>
              <a:gd name="connsiteY157" fmla="*/ 124948 h 497591"/>
              <a:gd name="connsiteX158" fmla="*/ 491876 w 977020"/>
              <a:gd name="connsiteY158" fmla="*/ 145171 h 497591"/>
              <a:gd name="connsiteX159" fmla="*/ 491876 w 977020"/>
              <a:gd name="connsiteY159" fmla="*/ 267690 h 497591"/>
              <a:gd name="connsiteX160" fmla="*/ 442744 w 977020"/>
              <a:gd name="connsiteY160" fmla="*/ 267690 h 497591"/>
              <a:gd name="connsiteX161" fmla="*/ 442744 w 977020"/>
              <a:gd name="connsiteY161" fmla="*/ 78644 h 497591"/>
              <a:gd name="connsiteX162" fmla="*/ 481689 w 977020"/>
              <a:gd name="connsiteY162" fmla="*/ 78644 h 497591"/>
              <a:gd name="connsiteX163" fmla="*/ 487371 w 977020"/>
              <a:gd name="connsiteY163" fmla="*/ 103673 h 497591"/>
              <a:gd name="connsiteX164" fmla="*/ 488873 w 977020"/>
              <a:gd name="connsiteY164" fmla="*/ 103673 h 497591"/>
              <a:gd name="connsiteX165" fmla="*/ 511950 w 977020"/>
              <a:gd name="connsiteY165" fmla="*/ 82498 h 497591"/>
              <a:gd name="connsiteX166" fmla="*/ 548993 w 977020"/>
              <a:gd name="connsiteY166" fmla="*/ 73413 h 497591"/>
              <a:gd name="connsiteX167" fmla="*/ 327008 w 977020"/>
              <a:gd name="connsiteY167" fmla="*/ 73337 h 497591"/>
              <a:gd name="connsiteX168" fmla="*/ 366329 w 977020"/>
              <a:gd name="connsiteY168" fmla="*/ 80521 h 497591"/>
              <a:gd name="connsiteX169" fmla="*/ 393862 w 977020"/>
              <a:gd name="connsiteY169" fmla="*/ 100769 h 497591"/>
              <a:gd name="connsiteX170" fmla="*/ 410481 w 977020"/>
              <a:gd name="connsiteY170" fmla="*/ 132331 h 497591"/>
              <a:gd name="connsiteX171" fmla="*/ 415963 w 977020"/>
              <a:gd name="connsiteY171" fmla="*/ 173154 h 497591"/>
              <a:gd name="connsiteX172" fmla="*/ 415812 w 977020"/>
              <a:gd name="connsiteY172" fmla="*/ 173154 h 497591"/>
              <a:gd name="connsiteX173" fmla="*/ 392560 w 977020"/>
              <a:gd name="connsiteY173" fmla="*/ 247091 h 497591"/>
              <a:gd name="connsiteX174" fmla="*/ 326958 w 977020"/>
              <a:gd name="connsiteY174" fmla="*/ 272996 h 497591"/>
              <a:gd name="connsiteX175" fmla="*/ 287837 w 977020"/>
              <a:gd name="connsiteY175" fmla="*/ 265813 h 497591"/>
              <a:gd name="connsiteX176" fmla="*/ 260030 w 977020"/>
              <a:gd name="connsiteY176" fmla="*/ 245589 h 497591"/>
              <a:gd name="connsiteX177" fmla="*/ 243410 w 977020"/>
              <a:gd name="connsiteY177" fmla="*/ 214002 h 497591"/>
              <a:gd name="connsiteX178" fmla="*/ 237779 w 977020"/>
              <a:gd name="connsiteY178" fmla="*/ 173154 h 497591"/>
              <a:gd name="connsiteX179" fmla="*/ 261206 w 977020"/>
              <a:gd name="connsiteY179" fmla="*/ 99243 h 497591"/>
              <a:gd name="connsiteX180" fmla="*/ 327008 w 977020"/>
              <a:gd name="connsiteY180" fmla="*/ 73337 h 497591"/>
              <a:gd name="connsiteX181" fmla="*/ 758864 w 977020"/>
              <a:gd name="connsiteY181" fmla="*/ 3005 h 497591"/>
              <a:gd name="connsiteX182" fmla="*/ 808022 w 977020"/>
              <a:gd name="connsiteY182" fmla="*/ 3005 h 497591"/>
              <a:gd name="connsiteX183" fmla="*/ 808022 w 977020"/>
              <a:gd name="connsiteY183" fmla="*/ 201137 h 497591"/>
              <a:gd name="connsiteX184" fmla="*/ 808397 w 977020"/>
              <a:gd name="connsiteY184" fmla="*/ 232924 h 497591"/>
              <a:gd name="connsiteX185" fmla="*/ 811801 w 977020"/>
              <a:gd name="connsiteY185" fmla="*/ 267965 h 497591"/>
              <a:gd name="connsiteX186" fmla="*/ 811726 w 977020"/>
              <a:gd name="connsiteY186" fmla="*/ 268040 h 497591"/>
              <a:gd name="connsiteX187" fmla="*/ 776685 w 977020"/>
              <a:gd name="connsiteY187" fmla="*/ 268040 h 497591"/>
              <a:gd name="connsiteX188" fmla="*/ 769877 w 977020"/>
              <a:gd name="connsiteY188" fmla="*/ 243462 h 497591"/>
              <a:gd name="connsiteX189" fmla="*/ 768400 w 977020"/>
              <a:gd name="connsiteY189" fmla="*/ 243462 h 497591"/>
              <a:gd name="connsiteX190" fmla="*/ 746650 w 977020"/>
              <a:gd name="connsiteY190" fmla="*/ 264837 h 497591"/>
              <a:gd name="connsiteX191" fmla="*/ 713186 w 977020"/>
              <a:gd name="connsiteY191" fmla="*/ 272971 h 497591"/>
              <a:gd name="connsiteX192" fmla="*/ 657971 w 977020"/>
              <a:gd name="connsiteY192" fmla="*/ 249519 h 497591"/>
              <a:gd name="connsiteX193" fmla="*/ 638248 w 977020"/>
              <a:gd name="connsiteY193" fmla="*/ 176183 h 497591"/>
              <a:gd name="connsiteX194" fmla="*/ 660199 w 977020"/>
              <a:gd name="connsiteY194" fmla="*/ 100945 h 497591"/>
              <a:gd name="connsiteX195" fmla="*/ 724449 w 977020"/>
              <a:gd name="connsiteY195" fmla="*/ 74213 h 497591"/>
              <a:gd name="connsiteX196" fmla="*/ 743721 w 977020"/>
              <a:gd name="connsiteY196" fmla="*/ 75565 h 497591"/>
              <a:gd name="connsiteX197" fmla="*/ 758864 w 977020"/>
              <a:gd name="connsiteY197" fmla="*/ 79895 h 497591"/>
              <a:gd name="connsiteX198" fmla="*/ 198107 w 977020"/>
              <a:gd name="connsiteY198" fmla="*/ 1 h 497591"/>
              <a:gd name="connsiteX199" fmla="*/ 248416 w 977020"/>
              <a:gd name="connsiteY199" fmla="*/ 7185 h 497591"/>
              <a:gd name="connsiteX200" fmla="*/ 248516 w 977020"/>
              <a:gd name="connsiteY200" fmla="*/ 7185 h 497591"/>
              <a:gd name="connsiteX201" fmla="*/ 239055 w 977020"/>
              <a:gd name="connsiteY201" fmla="*/ 46506 h 497591"/>
              <a:gd name="connsiteX202" fmla="*/ 223737 w 977020"/>
              <a:gd name="connsiteY202" fmla="*/ 42526 h 497591"/>
              <a:gd name="connsiteX203" fmla="*/ 209946 w 977020"/>
              <a:gd name="connsiteY203" fmla="*/ 41575 h 497591"/>
              <a:gd name="connsiteX204" fmla="*/ 198032 w 977020"/>
              <a:gd name="connsiteY204" fmla="*/ 43853 h 497591"/>
              <a:gd name="connsiteX205" fmla="*/ 191600 w 977020"/>
              <a:gd name="connsiteY205" fmla="*/ 50861 h 497591"/>
              <a:gd name="connsiteX206" fmla="*/ 188947 w 977020"/>
              <a:gd name="connsiteY206" fmla="*/ 62575 h 497591"/>
              <a:gd name="connsiteX207" fmla="*/ 188371 w 977020"/>
              <a:gd name="connsiteY207" fmla="*/ 78644 h 497591"/>
              <a:gd name="connsiteX208" fmla="*/ 229970 w 977020"/>
              <a:gd name="connsiteY208" fmla="*/ 78644 h 497591"/>
              <a:gd name="connsiteX209" fmla="*/ 229970 w 977020"/>
              <a:gd name="connsiteY209" fmla="*/ 120217 h 497591"/>
              <a:gd name="connsiteX210" fmla="*/ 188371 w 977020"/>
              <a:gd name="connsiteY210" fmla="*/ 120217 h 497591"/>
              <a:gd name="connsiteX211" fmla="*/ 188371 w 977020"/>
              <a:gd name="connsiteY211" fmla="*/ 243236 h 497591"/>
              <a:gd name="connsiteX212" fmla="*/ 172752 w 977020"/>
              <a:gd name="connsiteY212" fmla="*/ 280104 h 497591"/>
              <a:gd name="connsiteX213" fmla="*/ 147723 w 977020"/>
              <a:gd name="connsiteY213" fmla="*/ 270894 h 497591"/>
              <a:gd name="connsiteX214" fmla="*/ 116712 w 977020"/>
              <a:gd name="connsiteY214" fmla="*/ 267690 h 497591"/>
              <a:gd name="connsiteX215" fmla="*/ 98941 w 977020"/>
              <a:gd name="connsiteY215" fmla="*/ 270193 h 497591"/>
              <a:gd name="connsiteX216" fmla="*/ 88354 w 977020"/>
              <a:gd name="connsiteY216" fmla="*/ 277376 h 497591"/>
              <a:gd name="connsiteX217" fmla="*/ 83348 w 977020"/>
              <a:gd name="connsiteY217" fmla="*/ 289290 h 497591"/>
              <a:gd name="connsiteX218" fmla="*/ 82221 w 977020"/>
              <a:gd name="connsiteY218" fmla="*/ 305534 h 497591"/>
              <a:gd name="connsiteX219" fmla="*/ 188471 w 977020"/>
              <a:gd name="connsiteY219" fmla="*/ 305534 h 497591"/>
              <a:gd name="connsiteX220" fmla="*/ 188471 w 977020"/>
              <a:gd name="connsiteY220" fmla="*/ 494606 h 497591"/>
              <a:gd name="connsiteX221" fmla="*/ 139439 w 977020"/>
              <a:gd name="connsiteY221" fmla="*/ 494606 h 497591"/>
              <a:gd name="connsiteX222" fmla="*/ 139439 w 977020"/>
              <a:gd name="connsiteY222" fmla="*/ 347033 h 497591"/>
              <a:gd name="connsiteX223" fmla="*/ 82347 w 977020"/>
              <a:gd name="connsiteY223" fmla="*/ 347033 h 497591"/>
              <a:gd name="connsiteX224" fmla="*/ 82347 w 977020"/>
              <a:gd name="connsiteY224" fmla="*/ 494506 h 497591"/>
              <a:gd name="connsiteX225" fmla="*/ 33189 w 977020"/>
              <a:gd name="connsiteY225" fmla="*/ 494506 h 497591"/>
              <a:gd name="connsiteX226" fmla="*/ 33189 w 977020"/>
              <a:gd name="connsiteY226" fmla="*/ 347033 h 497591"/>
              <a:gd name="connsiteX227" fmla="*/ 0 w 977020"/>
              <a:gd name="connsiteY227" fmla="*/ 347033 h 497591"/>
              <a:gd name="connsiteX228" fmla="*/ 0 w 977020"/>
              <a:gd name="connsiteY228" fmla="*/ 305484 h 497591"/>
              <a:gd name="connsiteX229" fmla="*/ 33189 w 977020"/>
              <a:gd name="connsiteY229" fmla="*/ 305484 h 497591"/>
              <a:gd name="connsiteX230" fmla="*/ 33189 w 977020"/>
              <a:gd name="connsiteY230" fmla="*/ 294897 h 497591"/>
              <a:gd name="connsiteX231" fmla="*/ 51711 w 977020"/>
              <a:gd name="connsiteY231" fmla="*/ 242535 h 497591"/>
              <a:gd name="connsiteX232" fmla="*/ 105399 w 977020"/>
              <a:gd name="connsiteY232" fmla="*/ 226091 h 497591"/>
              <a:gd name="connsiteX233" fmla="*/ 139238 w 977020"/>
              <a:gd name="connsiteY233" fmla="*/ 228094 h 497591"/>
              <a:gd name="connsiteX234" fmla="*/ 139238 w 977020"/>
              <a:gd name="connsiteY234" fmla="*/ 120217 h 497591"/>
              <a:gd name="connsiteX235" fmla="*/ 113133 w 977020"/>
              <a:gd name="connsiteY235" fmla="*/ 120217 h 497591"/>
              <a:gd name="connsiteX236" fmla="*/ 113133 w 977020"/>
              <a:gd name="connsiteY236" fmla="*/ 78644 h 497591"/>
              <a:gd name="connsiteX237" fmla="*/ 139238 w 977020"/>
              <a:gd name="connsiteY237" fmla="*/ 78644 h 497591"/>
              <a:gd name="connsiteX238" fmla="*/ 139238 w 977020"/>
              <a:gd name="connsiteY238" fmla="*/ 68056 h 497591"/>
              <a:gd name="connsiteX239" fmla="*/ 154256 w 977020"/>
              <a:gd name="connsiteY239" fmla="*/ 16045 h 497591"/>
              <a:gd name="connsiteX240" fmla="*/ 198107 w 977020"/>
              <a:gd name="connsiteY240" fmla="*/ 1 h 4975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Lst>
            <a:rect l="l" t="t" r="r" b="b"/>
            <a:pathLst>
              <a:path w="977020" h="497591">
                <a:moveTo>
                  <a:pt x="514353" y="411433"/>
                </a:moveTo>
                <a:cubicBezTo>
                  <a:pt x="507878" y="411826"/>
                  <a:pt x="501468" y="412970"/>
                  <a:pt x="495255" y="414837"/>
                </a:cubicBezTo>
                <a:cubicBezTo>
                  <a:pt x="490312" y="416247"/>
                  <a:pt x="485782" y="418822"/>
                  <a:pt x="482040" y="422346"/>
                </a:cubicBezTo>
                <a:cubicBezTo>
                  <a:pt x="478706" y="425640"/>
                  <a:pt x="476891" y="430175"/>
                  <a:pt x="477034" y="434861"/>
                </a:cubicBezTo>
                <a:cubicBezTo>
                  <a:pt x="476666" y="440986"/>
                  <a:pt x="478944" y="446975"/>
                  <a:pt x="483291" y="451305"/>
                </a:cubicBezTo>
                <a:cubicBezTo>
                  <a:pt x="488062" y="455457"/>
                  <a:pt x="494274" y="457562"/>
                  <a:pt x="500587" y="457162"/>
                </a:cubicBezTo>
                <a:cubicBezTo>
                  <a:pt x="510423" y="457162"/>
                  <a:pt x="518107" y="454984"/>
                  <a:pt x="524014" y="450554"/>
                </a:cubicBezTo>
                <a:cubicBezTo>
                  <a:pt x="529253" y="446780"/>
                  <a:pt x="533635" y="441944"/>
                  <a:pt x="536879" y="436363"/>
                </a:cubicBezTo>
                <a:lnTo>
                  <a:pt x="536879" y="411809"/>
                </a:lnTo>
                <a:cubicBezTo>
                  <a:pt x="529393" y="411075"/>
                  <a:pt x="521859" y="410948"/>
                  <a:pt x="514353" y="411433"/>
                </a:cubicBezTo>
                <a:close/>
                <a:moveTo>
                  <a:pt x="823064" y="305384"/>
                </a:moveTo>
                <a:lnTo>
                  <a:pt x="971288" y="305384"/>
                </a:lnTo>
                <a:lnTo>
                  <a:pt x="971288" y="347033"/>
                </a:lnTo>
                <a:lnTo>
                  <a:pt x="897552" y="438215"/>
                </a:lnTo>
                <a:lnTo>
                  <a:pt x="878655" y="452957"/>
                </a:lnTo>
                <a:lnTo>
                  <a:pt x="971263" y="452957"/>
                </a:lnTo>
                <a:lnTo>
                  <a:pt x="971263" y="494556"/>
                </a:lnTo>
                <a:lnTo>
                  <a:pt x="823064" y="494556"/>
                </a:lnTo>
                <a:lnTo>
                  <a:pt x="823064" y="452957"/>
                </a:lnTo>
                <a:lnTo>
                  <a:pt x="897552" y="363352"/>
                </a:lnTo>
                <a:lnTo>
                  <a:pt x="916824" y="347083"/>
                </a:lnTo>
                <a:lnTo>
                  <a:pt x="823064" y="347083"/>
                </a:lnTo>
                <a:close/>
                <a:moveTo>
                  <a:pt x="517607" y="301705"/>
                </a:moveTo>
                <a:cubicBezTo>
                  <a:pt x="528757" y="301412"/>
                  <a:pt x="539878" y="303011"/>
                  <a:pt x="550495" y="306435"/>
                </a:cubicBezTo>
                <a:cubicBezTo>
                  <a:pt x="566414" y="311441"/>
                  <a:pt x="578545" y="324426"/>
                  <a:pt x="582457" y="340650"/>
                </a:cubicBezTo>
                <a:cubicBezTo>
                  <a:pt x="584695" y="349551"/>
                  <a:pt x="585781" y="358704"/>
                  <a:pt x="585686" y="367882"/>
                </a:cubicBezTo>
                <a:cubicBezTo>
                  <a:pt x="585686" y="378978"/>
                  <a:pt x="585303" y="390133"/>
                  <a:pt x="584535" y="401346"/>
                </a:cubicBezTo>
                <a:cubicBezTo>
                  <a:pt x="583767" y="412560"/>
                  <a:pt x="583316" y="423590"/>
                  <a:pt x="583183" y="434435"/>
                </a:cubicBezTo>
                <a:cubicBezTo>
                  <a:pt x="583051" y="445265"/>
                  <a:pt x="583359" y="455785"/>
                  <a:pt x="584109" y="465997"/>
                </a:cubicBezTo>
                <a:cubicBezTo>
                  <a:pt x="584805" y="475839"/>
                  <a:pt x="586713" y="485558"/>
                  <a:pt x="589791" y="494931"/>
                </a:cubicBezTo>
                <a:lnTo>
                  <a:pt x="549744" y="494931"/>
                </a:lnTo>
                <a:lnTo>
                  <a:pt x="541785" y="468851"/>
                </a:lnTo>
                <a:lnTo>
                  <a:pt x="539908" y="468851"/>
                </a:lnTo>
                <a:cubicBezTo>
                  <a:pt x="534469" y="477038"/>
                  <a:pt x="527313" y="483938"/>
                  <a:pt x="518933" y="489074"/>
                </a:cubicBezTo>
                <a:cubicBezTo>
                  <a:pt x="509973" y="494748"/>
                  <a:pt x="498434" y="497584"/>
                  <a:pt x="484317" y="497584"/>
                </a:cubicBezTo>
                <a:cubicBezTo>
                  <a:pt x="476201" y="497704"/>
                  <a:pt x="468129" y="496355"/>
                  <a:pt x="460490" y="493605"/>
                </a:cubicBezTo>
                <a:cubicBezTo>
                  <a:pt x="446861" y="488729"/>
                  <a:pt x="435956" y="478279"/>
                  <a:pt x="430505" y="464871"/>
                </a:cubicBezTo>
                <a:cubicBezTo>
                  <a:pt x="427636" y="457712"/>
                  <a:pt x="426225" y="450054"/>
                  <a:pt x="426350" y="442345"/>
                </a:cubicBezTo>
                <a:cubicBezTo>
                  <a:pt x="426007" y="432028"/>
                  <a:pt x="428695" y="421838"/>
                  <a:pt x="434084" y="413035"/>
                </a:cubicBezTo>
                <a:cubicBezTo>
                  <a:pt x="439680" y="404740"/>
                  <a:pt x="447387" y="398090"/>
                  <a:pt x="456410" y="393763"/>
                </a:cubicBezTo>
                <a:cubicBezTo>
                  <a:pt x="467370" y="388479"/>
                  <a:pt x="479124" y="385030"/>
                  <a:pt x="491201" y="383551"/>
                </a:cubicBezTo>
                <a:cubicBezTo>
                  <a:pt x="506176" y="381608"/>
                  <a:pt x="521298" y="381040"/>
                  <a:pt x="536378" y="381849"/>
                </a:cubicBezTo>
                <a:cubicBezTo>
                  <a:pt x="538131" y="367732"/>
                  <a:pt x="537122" y="357588"/>
                  <a:pt x="533350" y="351413"/>
                </a:cubicBezTo>
                <a:lnTo>
                  <a:pt x="533475" y="351438"/>
                </a:lnTo>
                <a:cubicBezTo>
                  <a:pt x="529703" y="345263"/>
                  <a:pt x="521261" y="342177"/>
                  <a:pt x="508145" y="342177"/>
                </a:cubicBezTo>
                <a:cubicBezTo>
                  <a:pt x="497678" y="342235"/>
                  <a:pt x="487241" y="343248"/>
                  <a:pt x="476959" y="345206"/>
                </a:cubicBezTo>
                <a:cubicBezTo>
                  <a:pt x="467645" y="346715"/>
                  <a:pt x="458557" y="349381"/>
                  <a:pt x="449902" y="353140"/>
                </a:cubicBezTo>
                <a:lnTo>
                  <a:pt x="438189" y="316472"/>
                </a:lnTo>
                <a:cubicBezTo>
                  <a:pt x="449699" y="311491"/>
                  <a:pt x="461753" y="307869"/>
                  <a:pt x="474105" y="305684"/>
                </a:cubicBezTo>
                <a:cubicBezTo>
                  <a:pt x="488447" y="302986"/>
                  <a:pt x="503012" y="301655"/>
                  <a:pt x="517607" y="301705"/>
                </a:cubicBezTo>
                <a:close/>
                <a:moveTo>
                  <a:pt x="339448" y="300253"/>
                </a:moveTo>
                <a:cubicBezTo>
                  <a:pt x="347943" y="300121"/>
                  <a:pt x="356400" y="301397"/>
                  <a:pt x="364477" y="304032"/>
                </a:cubicBezTo>
                <a:cubicBezTo>
                  <a:pt x="371666" y="306475"/>
                  <a:pt x="378068" y="310795"/>
                  <a:pt x="383024" y="316547"/>
                </a:cubicBezTo>
                <a:cubicBezTo>
                  <a:pt x="388595" y="323430"/>
                  <a:pt x="392478" y="331522"/>
                  <a:pt x="394362" y="340175"/>
                </a:cubicBezTo>
                <a:cubicBezTo>
                  <a:pt x="397048" y="352282"/>
                  <a:pt x="398257" y="364671"/>
                  <a:pt x="397966" y="377068"/>
                </a:cubicBezTo>
                <a:lnTo>
                  <a:pt x="397966" y="494706"/>
                </a:lnTo>
                <a:lnTo>
                  <a:pt x="348909" y="494706"/>
                </a:lnTo>
                <a:lnTo>
                  <a:pt x="348909" y="387080"/>
                </a:lnTo>
                <a:cubicBezTo>
                  <a:pt x="348909" y="371712"/>
                  <a:pt x="346699" y="360624"/>
                  <a:pt x="342276" y="353816"/>
                </a:cubicBezTo>
                <a:cubicBezTo>
                  <a:pt x="337853" y="347008"/>
                  <a:pt x="330345" y="343604"/>
                  <a:pt x="319750" y="343604"/>
                </a:cubicBezTo>
                <a:cubicBezTo>
                  <a:pt x="311140" y="343361"/>
                  <a:pt x="302735" y="346250"/>
                  <a:pt x="296097" y="351738"/>
                </a:cubicBezTo>
                <a:cubicBezTo>
                  <a:pt x="289737" y="357090"/>
                  <a:pt x="284967" y="364085"/>
                  <a:pt x="282306" y="371962"/>
                </a:cubicBezTo>
                <a:lnTo>
                  <a:pt x="282306" y="494481"/>
                </a:lnTo>
                <a:lnTo>
                  <a:pt x="233198" y="494481"/>
                </a:lnTo>
                <a:lnTo>
                  <a:pt x="233198" y="305484"/>
                </a:lnTo>
                <a:lnTo>
                  <a:pt x="272144" y="305484"/>
                </a:lnTo>
                <a:lnTo>
                  <a:pt x="277826" y="330514"/>
                </a:lnTo>
                <a:lnTo>
                  <a:pt x="279327" y="330514"/>
                </a:lnTo>
                <a:cubicBezTo>
                  <a:pt x="285570" y="322024"/>
                  <a:pt x="293409" y="314830"/>
                  <a:pt x="302404" y="309339"/>
                </a:cubicBezTo>
                <a:cubicBezTo>
                  <a:pt x="311966" y="303282"/>
                  <a:pt x="324313" y="300253"/>
                  <a:pt x="339448" y="300253"/>
                </a:cubicBezTo>
                <a:close/>
                <a:moveTo>
                  <a:pt x="733109" y="300228"/>
                </a:moveTo>
                <a:cubicBezTo>
                  <a:pt x="741604" y="300093"/>
                  <a:pt x="750061" y="301369"/>
                  <a:pt x="758138" y="304007"/>
                </a:cubicBezTo>
                <a:cubicBezTo>
                  <a:pt x="765327" y="306450"/>
                  <a:pt x="771729" y="310770"/>
                  <a:pt x="776685" y="316522"/>
                </a:cubicBezTo>
                <a:cubicBezTo>
                  <a:pt x="782257" y="323405"/>
                  <a:pt x="786139" y="331497"/>
                  <a:pt x="788023" y="340150"/>
                </a:cubicBezTo>
                <a:cubicBezTo>
                  <a:pt x="790739" y="352261"/>
                  <a:pt x="791966" y="364659"/>
                  <a:pt x="791678" y="377068"/>
                </a:cubicBezTo>
                <a:lnTo>
                  <a:pt x="791678" y="494706"/>
                </a:lnTo>
                <a:lnTo>
                  <a:pt x="742520" y="494706"/>
                </a:lnTo>
                <a:lnTo>
                  <a:pt x="742520" y="387080"/>
                </a:lnTo>
                <a:cubicBezTo>
                  <a:pt x="742520" y="371712"/>
                  <a:pt x="740317" y="360624"/>
                  <a:pt x="735912" y="353816"/>
                </a:cubicBezTo>
                <a:cubicBezTo>
                  <a:pt x="731507" y="347008"/>
                  <a:pt x="723998" y="343604"/>
                  <a:pt x="713386" y="343604"/>
                </a:cubicBezTo>
                <a:cubicBezTo>
                  <a:pt x="704783" y="343354"/>
                  <a:pt x="696383" y="346247"/>
                  <a:pt x="689758" y="351738"/>
                </a:cubicBezTo>
                <a:cubicBezTo>
                  <a:pt x="683383" y="357082"/>
                  <a:pt x="678603" y="364081"/>
                  <a:pt x="675942" y="371962"/>
                </a:cubicBezTo>
                <a:lnTo>
                  <a:pt x="675942" y="494481"/>
                </a:lnTo>
                <a:lnTo>
                  <a:pt x="626810" y="494481"/>
                </a:lnTo>
                <a:lnTo>
                  <a:pt x="626734" y="305459"/>
                </a:lnTo>
                <a:lnTo>
                  <a:pt x="665780" y="305459"/>
                </a:lnTo>
                <a:lnTo>
                  <a:pt x="671462" y="330489"/>
                </a:lnTo>
                <a:lnTo>
                  <a:pt x="672989" y="330489"/>
                </a:lnTo>
                <a:cubicBezTo>
                  <a:pt x="679216" y="321991"/>
                  <a:pt x="687048" y="314798"/>
                  <a:pt x="696041" y="309314"/>
                </a:cubicBezTo>
                <a:cubicBezTo>
                  <a:pt x="705602" y="303257"/>
                  <a:pt x="717959" y="300228"/>
                  <a:pt x="733109" y="300228"/>
                </a:cubicBezTo>
                <a:close/>
                <a:moveTo>
                  <a:pt x="730506" y="115762"/>
                </a:moveTo>
                <a:cubicBezTo>
                  <a:pt x="716640" y="115762"/>
                  <a:pt x="706235" y="120425"/>
                  <a:pt x="699295" y="129753"/>
                </a:cubicBezTo>
                <a:cubicBezTo>
                  <a:pt x="692354" y="139082"/>
                  <a:pt x="688890" y="155091"/>
                  <a:pt x="688907" y="177785"/>
                </a:cubicBezTo>
                <a:cubicBezTo>
                  <a:pt x="688907" y="193903"/>
                  <a:pt x="691743" y="206886"/>
                  <a:pt x="697417" y="216730"/>
                </a:cubicBezTo>
                <a:cubicBezTo>
                  <a:pt x="703091" y="226574"/>
                  <a:pt x="712102" y="231490"/>
                  <a:pt x="724449" y="231472"/>
                </a:cubicBezTo>
                <a:cubicBezTo>
                  <a:pt x="734028" y="231472"/>
                  <a:pt x="741586" y="229137"/>
                  <a:pt x="747125" y="224464"/>
                </a:cubicBezTo>
                <a:lnTo>
                  <a:pt x="747125" y="224389"/>
                </a:lnTo>
                <a:cubicBezTo>
                  <a:pt x="753083" y="219061"/>
                  <a:pt x="757192" y="211980"/>
                  <a:pt x="758864" y="204166"/>
                </a:cubicBezTo>
                <a:lnTo>
                  <a:pt x="758864" y="124072"/>
                </a:lnTo>
                <a:cubicBezTo>
                  <a:pt x="755340" y="121333"/>
                  <a:pt x="751368" y="119224"/>
                  <a:pt x="747125" y="117839"/>
                </a:cubicBezTo>
                <a:cubicBezTo>
                  <a:pt x="741722" y="116310"/>
                  <a:pt x="736120" y="115609"/>
                  <a:pt x="730506" y="115762"/>
                </a:cubicBezTo>
                <a:close/>
                <a:moveTo>
                  <a:pt x="327108" y="114986"/>
                </a:moveTo>
                <a:cubicBezTo>
                  <a:pt x="315978" y="114513"/>
                  <a:pt x="305340" y="119619"/>
                  <a:pt x="298750" y="128602"/>
                </a:cubicBezTo>
                <a:cubicBezTo>
                  <a:pt x="291942" y="137680"/>
                  <a:pt x="288538" y="152548"/>
                  <a:pt x="288538" y="173204"/>
                </a:cubicBezTo>
                <a:cubicBezTo>
                  <a:pt x="288476" y="180956"/>
                  <a:pt x="289239" y="188692"/>
                  <a:pt x="290816" y="196281"/>
                </a:cubicBezTo>
                <a:cubicBezTo>
                  <a:pt x="292117" y="202766"/>
                  <a:pt x="294405" y="209011"/>
                  <a:pt x="297599" y="214803"/>
                </a:cubicBezTo>
                <a:cubicBezTo>
                  <a:pt x="300410" y="219884"/>
                  <a:pt x="304522" y="224126"/>
                  <a:pt x="309513" y="227092"/>
                </a:cubicBezTo>
                <a:cubicBezTo>
                  <a:pt x="314854" y="230093"/>
                  <a:pt x="320909" y="231600"/>
                  <a:pt x="327033" y="231447"/>
                </a:cubicBezTo>
                <a:cubicBezTo>
                  <a:pt x="339898" y="231447"/>
                  <a:pt x="349477" y="226784"/>
                  <a:pt x="355767" y="217456"/>
                </a:cubicBezTo>
                <a:lnTo>
                  <a:pt x="355842" y="217456"/>
                </a:lnTo>
                <a:cubicBezTo>
                  <a:pt x="362149" y="208145"/>
                  <a:pt x="365303" y="193396"/>
                  <a:pt x="365303" y="173204"/>
                </a:cubicBezTo>
                <a:cubicBezTo>
                  <a:pt x="365303" y="155834"/>
                  <a:pt x="362400" y="141785"/>
                  <a:pt x="356593" y="131055"/>
                </a:cubicBezTo>
                <a:cubicBezTo>
                  <a:pt x="350786" y="120325"/>
                  <a:pt x="340957" y="114969"/>
                  <a:pt x="327108" y="114986"/>
                </a:cubicBezTo>
                <a:close/>
                <a:moveTo>
                  <a:pt x="906262" y="73413"/>
                </a:moveTo>
                <a:cubicBezTo>
                  <a:pt x="919385" y="73265"/>
                  <a:pt x="932473" y="74797"/>
                  <a:pt x="945207" y="77968"/>
                </a:cubicBezTo>
                <a:cubicBezTo>
                  <a:pt x="954689" y="80168"/>
                  <a:pt x="963842" y="83592"/>
                  <a:pt x="972439" y="88155"/>
                </a:cubicBezTo>
                <a:lnTo>
                  <a:pt x="961477" y="123721"/>
                </a:lnTo>
                <a:cubicBezTo>
                  <a:pt x="955670" y="121436"/>
                  <a:pt x="948361" y="119041"/>
                  <a:pt x="939551" y="116538"/>
                </a:cubicBezTo>
                <a:cubicBezTo>
                  <a:pt x="930821" y="114020"/>
                  <a:pt x="921780" y="112738"/>
                  <a:pt x="912694" y="112734"/>
                </a:cubicBezTo>
                <a:cubicBezTo>
                  <a:pt x="905386" y="112734"/>
                  <a:pt x="899904" y="114152"/>
                  <a:pt x="896250" y="116989"/>
                </a:cubicBezTo>
                <a:lnTo>
                  <a:pt x="890833" y="129603"/>
                </a:lnTo>
                <a:lnTo>
                  <a:pt x="890819" y="129578"/>
                </a:lnTo>
                <a:lnTo>
                  <a:pt x="890769" y="129753"/>
                </a:lnTo>
                <a:lnTo>
                  <a:pt x="890833" y="129603"/>
                </a:lnTo>
                <a:lnTo>
                  <a:pt x="897226" y="140541"/>
                </a:lnTo>
                <a:cubicBezTo>
                  <a:pt x="902237" y="143680"/>
                  <a:pt x="907563" y="146280"/>
                  <a:pt x="913120" y="148300"/>
                </a:cubicBezTo>
                <a:cubicBezTo>
                  <a:pt x="919427" y="150703"/>
                  <a:pt x="926360" y="153288"/>
                  <a:pt x="933919" y="156059"/>
                </a:cubicBezTo>
                <a:cubicBezTo>
                  <a:pt x="941288" y="158735"/>
                  <a:pt x="948279" y="162352"/>
                  <a:pt x="954719" y="166822"/>
                </a:cubicBezTo>
                <a:cubicBezTo>
                  <a:pt x="961161" y="171390"/>
                  <a:pt x="966575" y="177256"/>
                  <a:pt x="970612" y="184042"/>
                </a:cubicBezTo>
                <a:cubicBezTo>
                  <a:pt x="974900" y="191100"/>
                  <a:pt x="977037" y="200168"/>
                  <a:pt x="977020" y="211249"/>
                </a:cubicBezTo>
                <a:cubicBezTo>
                  <a:pt x="977020" y="230421"/>
                  <a:pt x="970913" y="245439"/>
                  <a:pt x="958698" y="256301"/>
                </a:cubicBezTo>
                <a:cubicBezTo>
                  <a:pt x="946484" y="267164"/>
                  <a:pt x="928130" y="272653"/>
                  <a:pt x="903634" y="272771"/>
                </a:cubicBezTo>
                <a:cubicBezTo>
                  <a:pt x="890946" y="272881"/>
                  <a:pt x="878307" y="271197"/>
                  <a:pt x="866090" y="267765"/>
                </a:cubicBezTo>
                <a:cubicBezTo>
                  <a:pt x="856091" y="265084"/>
                  <a:pt x="846494" y="261077"/>
                  <a:pt x="837557" y="255851"/>
                </a:cubicBezTo>
                <a:lnTo>
                  <a:pt x="851122" y="219383"/>
                </a:lnTo>
                <a:cubicBezTo>
                  <a:pt x="858486" y="223316"/>
                  <a:pt x="866202" y="226542"/>
                  <a:pt x="874174" y="229020"/>
                </a:cubicBezTo>
                <a:cubicBezTo>
                  <a:pt x="883696" y="232156"/>
                  <a:pt x="893659" y="233743"/>
                  <a:pt x="903684" y="233725"/>
                </a:cubicBezTo>
                <a:cubicBezTo>
                  <a:pt x="909798" y="234016"/>
                  <a:pt x="915871" y="232576"/>
                  <a:pt x="921204" y="229570"/>
                </a:cubicBezTo>
                <a:cubicBezTo>
                  <a:pt x="925609" y="226817"/>
                  <a:pt x="927837" y="222061"/>
                  <a:pt x="927837" y="215604"/>
                </a:cubicBezTo>
                <a:cubicBezTo>
                  <a:pt x="927925" y="210726"/>
                  <a:pt x="925494" y="206148"/>
                  <a:pt x="921405" y="203490"/>
                </a:cubicBezTo>
                <a:cubicBezTo>
                  <a:pt x="916446" y="200116"/>
                  <a:pt x="911113" y="197327"/>
                  <a:pt x="905511" y="195180"/>
                </a:cubicBezTo>
                <a:cubicBezTo>
                  <a:pt x="899203" y="192660"/>
                  <a:pt x="892271" y="190074"/>
                  <a:pt x="884711" y="187421"/>
                </a:cubicBezTo>
                <a:cubicBezTo>
                  <a:pt x="877271" y="184845"/>
                  <a:pt x="870265" y="181149"/>
                  <a:pt x="863937" y="176458"/>
                </a:cubicBezTo>
                <a:cubicBezTo>
                  <a:pt x="857495" y="171667"/>
                  <a:pt x="852088" y="165623"/>
                  <a:pt x="848044" y="158687"/>
                </a:cubicBezTo>
                <a:cubicBezTo>
                  <a:pt x="843739" y="151496"/>
                  <a:pt x="841593" y="142226"/>
                  <a:pt x="841611" y="130880"/>
                </a:cubicBezTo>
                <a:cubicBezTo>
                  <a:pt x="841611" y="112240"/>
                  <a:pt x="847160" y="97999"/>
                  <a:pt x="858256" y="88155"/>
                </a:cubicBezTo>
                <a:cubicBezTo>
                  <a:pt x="869351" y="78311"/>
                  <a:pt x="885355" y="73395"/>
                  <a:pt x="906262" y="73413"/>
                </a:cubicBezTo>
                <a:close/>
                <a:moveTo>
                  <a:pt x="548993" y="73413"/>
                </a:moveTo>
                <a:cubicBezTo>
                  <a:pt x="557488" y="73285"/>
                  <a:pt x="565946" y="74561"/>
                  <a:pt x="574023" y="77192"/>
                </a:cubicBezTo>
                <a:cubicBezTo>
                  <a:pt x="581199" y="79645"/>
                  <a:pt x="587591" y="83965"/>
                  <a:pt x="592544" y="89706"/>
                </a:cubicBezTo>
                <a:cubicBezTo>
                  <a:pt x="598111" y="96592"/>
                  <a:pt x="601993" y="104684"/>
                  <a:pt x="603883" y="113334"/>
                </a:cubicBezTo>
                <a:cubicBezTo>
                  <a:pt x="606623" y="125426"/>
                  <a:pt x="607892" y="137805"/>
                  <a:pt x="607662" y="150202"/>
                </a:cubicBezTo>
                <a:lnTo>
                  <a:pt x="607537" y="267665"/>
                </a:lnTo>
                <a:lnTo>
                  <a:pt x="558454" y="267665"/>
                </a:lnTo>
                <a:lnTo>
                  <a:pt x="558454" y="160314"/>
                </a:lnTo>
                <a:cubicBezTo>
                  <a:pt x="558454" y="144946"/>
                  <a:pt x="556252" y="133851"/>
                  <a:pt x="551847" y="127025"/>
                </a:cubicBezTo>
                <a:cubicBezTo>
                  <a:pt x="547442" y="120200"/>
                  <a:pt x="539933" y="116806"/>
                  <a:pt x="529320" y="116838"/>
                </a:cubicBezTo>
                <a:cubicBezTo>
                  <a:pt x="520723" y="116585"/>
                  <a:pt x="512325" y="119469"/>
                  <a:pt x="505693" y="124948"/>
                </a:cubicBezTo>
                <a:cubicBezTo>
                  <a:pt x="499318" y="130291"/>
                  <a:pt x="494537" y="137290"/>
                  <a:pt x="491876" y="145171"/>
                </a:cubicBezTo>
                <a:lnTo>
                  <a:pt x="491876" y="267690"/>
                </a:lnTo>
                <a:lnTo>
                  <a:pt x="442744" y="267690"/>
                </a:lnTo>
                <a:lnTo>
                  <a:pt x="442744" y="78644"/>
                </a:lnTo>
                <a:lnTo>
                  <a:pt x="481689" y="78644"/>
                </a:lnTo>
                <a:lnTo>
                  <a:pt x="487371" y="103673"/>
                </a:lnTo>
                <a:lnTo>
                  <a:pt x="488873" y="103673"/>
                </a:lnTo>
                <a:cubicBezTo>
                  <a:pt x="495123" y="95188"/>
                  <a:pt x="502959" y="87997"/>
                  <a:pt x="511950" y="82498"/>
                </a:cubicBezTo>
                <a:cubicBezTo>
                  <a:pt x="521529" y="76441"/>
                  <a:pt x="533876" y="73413"/>
                  <a:pt x="548993" y="73413"/>
                </a:cubicBezTo>
                <a:close/>
                <a:moveTo>
                  <a:pt x="327008" y="73337"/>
                </a:moveTo>
                <a:cubicBezTo>
                  <a:pt x="340467" y="73027"/>
                  <a:pt x="353850" y="75472"/>
                  <a:pt x="366329" y="80521"/>
                </a:cubicBezTo>
                <a:cubicBezTo>
                  <a:pt x="376964" y="85021"/>
                  <a:pt x="386395" y="91957"/>
                  <a:pt x="393862" y="100769"/>
                </a:cubicBezTo>
                <a:cubicBezTo>
                  <a:pt x="401535" y="110020"/>
                  <a:pt x="407195" y="120770"/>
                  <a:pt x="410481" y="132331"/>
                </a:cubicBezTo>
                <a:cubicBezTo>
                  <a:pt x="414261" y="145604"/>
                  <a:pt x="416108" y="159353"/>
                  <a:pt x="415963" y="173154"/>
                </a:cubicBezTo>
                <a:lnTo>
                  <a:pt x="415812" y="173154"/>
                </a:lnTo>
                <a:cubicBezTo>
                  <a:pt x="415812" y="205192"/>
                  <a:pt x="408061" y="229838"/>
                  <a:pt x="392560" y="247091"/>
                </a:cubicBezTo>
                <a:cubicBezTo>
                  <a:pt x="377059" y="264343"/>
                  <a:pt x="355191" y="272978"/>
                  <a:pt x="326958" y="272996"/>
                </a:cubicBezTo>
                <a:cubicBezTo>
                  <a:pt x="313565" y="273279"/>
                  <a:pt x="300257" y="270834"/>
                  <a:pt x="287837" y="265813"/>
                </a:cubicBezTo>
                <a:cubicBezTo>
                  <a:pt x="277137" y="261300"/>
                  <a:pt x="267621" y="254379"/>
                  <a:pt x="260030" y="245589"/>
                </a:cubicBezTo>
                <a:cubicBezTo>
                  <a:pt x="252308" y="236361"/>
                  <a:pt x="246642" y="225593"/>
                  <a:pt x="243410" y="214002"/>
                </a:cubicBezTo>
                <a:cubicBezTo>
                  <a:pt x="239576" y="200729"/>
                  <a:pt x="237679" y="186970"/>
                  <a:pt x="237779" y="173154"/>
                </a:cubicBezTo>
                <a:cubicBezTo>
                  <a:pt x="237779" y="141167"/>
                  <a:pt x="245588" y="116530"/>
                  <a:pt x="261206" y="99243"/>
                </a:cubicBezTo>
                <a:cubicBezTo>
                  <a:pt x="276825" y="81955"/>
                  <a:pt x="298758" y="73320"/>
                  <a:pt x="327008" y="73337"/>
                </a:cubicBezTo>
                <a:close/>
                <a:moveTo>
                  <a:pt x="758864" y="3005"/>
                </a:moveTo>
                <a:lnTo>
                  <a:pt x="808022" y="3005"/>
                </a:lnTo>
                <a:lnTo>
                  <a:pt x="808022" y="201137"/>
                </a:lnTo>
                <a:cubicBezTo>
                  <a:pt x="808022" y="211750"/>
                  <a:pt x="808022" y="222312"/>
                  <a:pt x="808397" y="232924"/>
                </a:cubicBezTo>
                <a:cubicBezTo>
                  <a:pt x="808763" y="244666"/>
                  <a:pt x="809899" y="256372"/>
                  <a:pt x="811801" y="267965"/>
                </a:cubicBezTo>
                <a:lnTo>
                  <a:pt x="811726" y="268040"/>
                </a:lnTo>
                <a:lnTo>
                  <a:pt x="776685" y="268040"/>
                </a:lnTo>
                <a:lnTo>
                  <a:pt x="769877" y="243462"/>
                </a:lnTo>
                <a:lnTo>
                  <a:pt x="768400" y="243462"/>
                </a:lnTo>
                <a:cubicBezTo>
                  <a:pt x="763224" y="252429"/>
                  <a:pt x="755705" y="259818"/>
                  <a:pt x="746650" y="264837"/>
                </a:cubicBezTo>
                <a:cubicBezTo>
                  <a:pt x="736405" y="270446"/>
                  <a:pt x="724862" y="273252"/>
                  <a:pt x="713186" y="272971"/>
                </a:cubicBezTo>
                <a:cubicBezTo>
                  <a:pt x="689475" y="272971"/>
                  <a:pt x="671069" y="265154"/>
                  <a:pt x="657971" y="249519"/>
                </a:cubicBezTo>
                <a:cubicBezTo>
                  <a:pt x="644873" y="233883"/>
                  <a:pt x="638298" y="209439"/>
                  <a:pt x="638248" y="176183"/>
                </a:cubicBezTo>
                <a:cubicBezTo>
                  <a:pt x="638248" y="143927"/>
                  <a:pt x="645564" y="118848"/>
                  <a:pt x="660199" y="100945"/>
                </a:cubicBezTo>
                <a:cubicBezTo>
                  <a:pt x="674833" y="83041"/>
                  <a:pt x="696248" y="74131"/>
                  <a:pt x="724449" y="74213"/>
                </a:cubicBezTo>
                <a:cubicBezTo>
                  <a:pt x="730899" y="74111"/>
                  <a:pt x="737349" y="74564"/>
                  <a:pt x="743721" y="75565"/>
                </a:cubicBezTo>
                <a:cubicBezTo>
                  <a:pt x="748907" y="76471"/>
                  <a:pt x="753983" y="77923"/>
                  <a:pt x="758864" y="79895"/>
                </a:cubicBezTo>
                <a:close/>
                <a:moveTo>
                  <a:pt x="198107" y="1"/>
                </a:moveTo>
                <a:cubicBezTo>
                  <a:pt x="218281" y="1"/>
                  <a:pt x="235051" y="2397"/>
                  <a:pt x="248416" y="7185"/>
                </a:cubicBezTo>
                <a:lnTo>
                  <a:pt x="248516" y="7185"/>
                </a:lnTo>
                <a:lnTo>
                  <a:pt x="239055" y="46506"/>
                </a:lnTo>
                <a:cubicBezTo>
                  <a:pt x="234087" y="44694"/>
                  <a:pt x="228958" y="43360"/>
                  <a:pt x="223737" y="42526"/>
                </a:cubicBezTo>
                <a:cubicBezTo>
                  <a:pt x="219169" y="41886"/>
                  <a:pt x="214559" y="41568"/>
                  <a:pt x="209946" y="41575"/>
                </a:cubicBezTo>
                <a:cubicBezTo>
                  <a:pt x="205851" y="41387"/>
                  <a:pt x="201769" y="42166"/>
                  <a:pt x="198032" y="43853"/>
                </a:cubicBezTo>
                <a:cubicBezTo>
                  <a:pt x="195134" y="45365"/>
                  <a:pt x="192859" y="47845"/>
                  <a:pt x="191600" y="50861"/>
                </a:cubicBezTo>
                <a:cubicBezTo>
                  <a:pt x="190063" y="54588"/>
                  <a:pt x="189164" y="58548"/>
                  <a:pt x="188947" y="62575"/>
                </a:cubicBezTo>
                <a:cubicBezTo>
                  <a:pt x="188564" y="67230"/>
                  <a:pt x="188371" y="72586"/>
                  <a:pt x="188371" y="78644"/>
                </a:cubicBezTo>
                <a:lnTo>
                  <a:pt x="229970" y="78644"/>
                </a:lnTo>
                <a:lnTo>
                  <a:pt x="229970" y="120217"/>
                </a:lnTo>
                <a:lnTo>
                  <a:pt x="188371" y="120217"/>
                </a:lnTo>
                <a:lnTo>
                  <a:pt x="188371" y="243236"/>
                </a:lnTo>
                <a:cubicBezTo>
                  <a:pt x="188371" y="264661"/>
                  <a:pt x="172752" y="280104"/>
                  <a:pt x="172752" y="280104"/>
                </a:cubicBezTo>
                <a:cubicBezTo>
                  <a:pt x="164833" y="275985"/>
                  <a:pt x="156423" y="272889"/>
                  <a:pt x="147723" y="270894"/>
                </a:cubicBezTo>
                <a:cubicBezTo>
                  <a:pt x="137539" y="268671"/>
                  <a:pt x="127137" y="267597"/>
                  <a:pt x="116712" y="267690"/>
                </a:cubicBezTo>
                <a:cubicBezTo>
                  <a:pt x="110690" y="267522"/>
                  <a:pt x="104683" y="268368"/>
                  <a:pt x="98941" y="270193"/>
                </a:cubicBezTo>
                <a:cubicBezTo>
                  <a:pt x="94814" y="271559"/>
                  <a:pt x="91150" y="274047"/>
                  <a:pt x="88354" y="277376"/>
                </a:cubicBezTo>
                <a:cubicBezTo>
                  <a:pt x="85670" y="280840"/>
                  <a:pt x="83946" y="284950"/>
                  <a:pt x="83348" y="289290"/>
                </a:cubicBezTo>
                <a:cubicBezTo>
                  <a:pt x="82554" y="294669"/>
                  <a:pt x="82179" y="300098"/>
                  <a:pt x="82221" y="305534"/>
                </a:cubicBezTo>
                <a:lnTo>
                  <a:pt x="188471" y="305534"/>
                </a:lnTo>
                <a:lnTo>
                  <a:pt x="188471" y="494606"/>
                </a:lnTo>
                <a:lnTo>
                  <a:pt x="139439" y="494606"/>
                </a:lnTo>
                <a:lnTo>
                  <a:pt x="139439" y="347033"/>
                </a:lnTo>
                <a:lnTo>
                  <a:pt x="82347" y="347033"/>
                </a:lnTo>
                <a:lnTo>
                  <a:pt x="82347" y="494506"/>
                </a:lnTo>
                <a:lnTo>
                  <a:pt x="33189" y="494506"/>
                </a:lnTo>
                <a:lnTo>
                  <a:pt x="33189" y="347033"/>
                </a:lnTo>
                <a:lnTo>
                  <a:pt x="0" y="347033"/>
                </a:lnTo>
                <a:lnTo>
                  <a:pt x="0" y="305484"/>
                </a:lnTo>
                <a:lnTo>
                  <a:pt x="33189" y="305484"/>
                </a:lnTo>
                <a:lnTo>
                  <a:pt x="33189" y="294897"/>
                </a:lnTo>
                <a:cubicBezTo>
                  <a:pt x="33189" y="270969"/>
                  <a:pt x="39364" y="253516"/>
                  <a:pt x="51711" y="242535"/>
                </a:cubicBezTo>
                <a:cubicBezTo>
                  <a:pt x="64058" y="231555"/>
                  <a:pt x="81954" y="226074"/>
                  <a:pt x="105399" y="226091"/>
                </a:cubicBezTo>
                <a:cubicBezTo>
                  <a:pt x="116709" y="226051"/>
                  <a:pt x="128010" y="226719"/>
                  <a:pt x="139238" y="228094"/>
                </a:cubicBezTo>
                <a:lnTo>
                  <a:pt x="139238" y="120217"/>
                </a:lnTo>
                <a:lnTo>
                  <a:pt x="113133" y="120217"/>
                </a:lnTo>
                <a:lnTo>
                  <a:pt x="113133" y="78644"/>
                </a:lnTo>
                <a:lnTo>
                  <a:pt x="139238" y="78644"/>
                </a:lnTo>
                <a:lnTo>
                  <a:pt x="139238" y="68056"/>
                </a:lnTo>
                <a:cubicBezTo>
                  <a:pt x="139238" y="44110"/>
                  <a:pt x="144244" y="26775"/>
                  <a:pt x="154256" y="16045"/>
                </a:cubicBezTo>
                <a:cubicBezTo>
                  <a:pt x="164268" y="5315"/>
                  <a:pt x="178885" y="-31"/>
                  <a:pt x="198107" y="1"/>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80000" tIns="144000" rIns="180000" bIns="144000" rtlCol="0" anchor="t">
            <a:noAutofit/>
          </a:bodyPr>
          <a:lstStyle/>
          <a:p>
            <a:pPr algn="l"/>
            <a:endParaRPr lang="de-DE" sz="1600" dirty="0" err="1">
              <a:solidFill>
                <a:schemeClr val="bg1"/>
              </a:solidFill>
            </a:endParaRPr>
          </a:p>
        </p:txBody>
      </p:sp>
    </p:spTree>
    <p:extLst>
      <p:ext uri="{BB962C8B-B14F-4D97-AF65-F5344CB8AC3E}">
        <p14:creationId xmlns:p14="http://schemas.microsoft.com/office/powerpoint/2010/main" val="311386716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Bild unten">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2F92421B-EF6A-44D9-A85C-C5E6F2918E05}"/>
              </a:ext>
            </a:extLst>
          </p:cNvPr>
          <p:cNvGraphicFramePr>
            <a:graphicFrameLocks noChangeAspect="1"/>
          </p:cNvGraphicFramePr>
          <p:nvPr userDrawn="1">
            <p:custDataLst>
              <p:tags r:id="rId1"/>
            </p:custDataLst>
            <p:extLst>
              <p:ext uri="{D42A27DB-BD31-4B8C-83A1-F6EECF244321}">
                <p14:modId xmlns:p14="http://schemas.microsoft.com/office/powerpoint/2010/main" val="137650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7" name="Objekt 6" hidden="1">
                        <a:extLst>
                          <a:ext uri="{FF2B5EF4-FFF2-40B4-BE49-F238E27FC236}">
                            <a16:creationId xmlns:a16="http://schemas.microsoft.com/office/drawing/2014/main" id="{2F92421B-EF6A-44D9-A85C-C5E6F2918E0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Bildplatzhalter 4">
            <a:extLst>
              <a:ext uri="{FF2B5EF4-FFF2-40B4-BE49-F238E27FC236}">
                <a16:creationId xmlns:a16="http://schemas.microsoft.com/office/drawing/2014/main" id="{4214E90E-CEE3-4A73-9964-EB2B2B91A9D3}"/>
              </a:ext>
            </a:extLst>
          </p:cNvPr>
          <p:cNvSpPr>
            <a:spLocks noGrp="1"/>
          </p:cNvSpPr>
          <p:nvPr>
            <p:ph type="pic" sz="quarter" idx="11" hasCustomPrompt="1"/>
          </p:nvPr>
        </p:nvSpPr>
        <p:spPr bwMode="gray">
          <a:xfrm>
            <a:off x="200439" y="3033713"/>
            <a:ext cx="11791122" cy="3611882"/>
          </a:xfrm>
          <a:solidFill>
            <a:schemeClr val="bg2"/>
          </a:solidFill>
        </p:spPr>
        <p:txBody>
          <a:bodyPr lIns="108014" tIns="36005"/>
          <a:lstStyle>
            <a:lvl1pPr>
              <a:spcAft>
                <a:spcPts val="0"/>
              </a:spcAft>
              <a:defRPr sz="1600" b="0">
                <a:sym typeface="Wingdings" panose="05000000000000000000" pitchFamily="2" charset="2"/>
              </a:defRPr>
            </a:lvl1pPr>
          </a:lstStyle>
          <a:p>
            <a:r>
              <a:rPr lang="de-DE" noProof="0" dirty="0"/>
              <a:t>Hier geht’s zur Bilder-Bibliothek:  Schnellzugriff  </a:t>
            </a:r>
            <a:r>
              <a:rPr lang="de-DE" noProof="0" dirty="0" err="1"/>
              <a:t>PPT_Bilder_Vorlagen</a:t>
            </a:r>
            <a:endParaRPr lang="de-DE" noProof="0" dirty="0"/>
          </a:p>
        </p:txBody>
      </p:sp>
      <p:sp>
        <p:nvSpPr>
          <p:cNvPr id="2" name="Titel 1">
            <a:extLst>
              <a:ext uri="{FF2B5EF4-FFF2-40B4-BE49-F238E27FC236}">
                <a16:creationId xmlns:a16="http://schemas.microsoft.com/office/drawing/2014/main" id="{FA4F4229-E8C8-4CBE-A19F-F2E39F8B974D}"/>
              </a:ext>
            </a:extLst>
          </p:cNvPr>
          <p:cNvSpPr>
            <a:spLocks noGrp="1"/>
          </p:cNvSpPr>
          <p:nvPr>
            <p:ph type="title" hasCustomPrompt="1"/>
          </p:nvPr>
        </p:nvSpPr>
        <p:spPr bwMode="gray">
          <a:xfrm>
            <a:off x="479425" y="739916"/>
            <a:ext cx="11233150" cy="443198"/>
          </a:xfrm>
        </p:spPr>
        <p:txBody>
          <a:bodyPr vert="horz"/>
          <a:lstStyle>
            <a:lvl1pPr rtl="0">
              <a:defRPr/>
            </a:lvl1pPr>
          </a:lstStyle>
          <a:p>
            <a:r>
              <a:rPr lang="de-DE" noProof="0" dirty="0"/>
              <a:t>Headline, PT Sans, 32 </a:t>
            </a:r>
            <a:r>
              <a:rPr lang="de-DE" noProof="0" dirty="0" err="1"/>
              <a:t>pt</a:t>
            </a:r>
            <a:endParaRPr lang="de-DE" noProof="0" dirty="0"/>
          </a:p>
        </p:txBody>
      </p:sp>
      <p:sp>
        <p:nvSpPr>
          <p:cNvPr id="6" name="Textplatzhalter 5">
            <a:extLst>
              <a:ext uri="{FF2B5EF4-FFF2-40B4-BE49-F238E27FC236}">
                <a16:creationId xmlns:a16="http://schemas.microsoft.com/office/drawing/2014/main" id="{B603CA65-3897-4F2C-B57C-CE1CC9AC6AC6}"/>
              </a:ext>
            </a:extLst>
          </p:cNvPr>
          <p:cNvSpPr>
            <a:spLocks noGrp="1"/>
          </p:cNvSpPr>
          <p:nvPr>
            <p:ph type="body" sz="quarter" idx="12" hasCustomPrompt="1"/>
          </p:nvPr>
        </p:nvSpPr>
        <p:spPr bwMode="gray">
          <a:xfrm>
            <a:off x="479425" y="1628775"/>
            <a:ext cx="11233150" cy="1116013"/>
          </a:xfrm>
        </p:spPr>
        <p:txBody>
          <a:bodyPr/>
          <a:lstStyle>
            <a:lvl1pPr rtl="0">
              <a:defRPr/>
            </a:lvl1pPr>
            <a:lvl2pPr rtl="0">
              <a:defRPr/>
            </a:lvl2pPr>
            <a:lvl3pPr rtl="0">
              <a:defRPr/>
            </a:lvl3pPr>
          </a:lstStyle>
          <a:p>
            <a:pPr lvl="0"/>
            <a:r>
              <a:rPr lang="de-DE" noProof="0" dirty="0"/>
              <a:t>Sub-Headline, PT Sans fett, 20 </a:t>
            </a:r>
            <a:r>
              <a:rPr lang="de-DE" noProof="0" dirty="0" err="1"/>
              <a:t>pt</a:t>
            </a:r>
            <a:endParaRPr lang="de-DE" noProof="0" dirty="0"/>
          </a:p>
          <a:p>
            <a:pPr lvl="1"/>
            <a:r>
              <a:rPr lang="de-DE" noProof="0" dirty="0"/>
              <a:t>Copy, PT Sans, 16 </a:t>
            </a:r>
            <a:r>
              <a:rPr lang="de-DE" noProof="0" dirty="0" err="1"/>
              <a:t>pt</a:t>
            </a:r>
            <a:endParaRPr lang="de-DE" noProof="0" dirty="0"/>
          </a:p>
          <a:p>
            <a:pPr lvl="2"/>
            <a:r>
              <a:rPr lang="de-DE" noProof="0" dirty="0"/>
              <a:t>1. Ebene, PT Sans, 16 </a:t>
            </a:r>
            <a:r>
              <a:rPr lang="de-DE" noProof="0" dirty="0" err="1"/>
              <a:t>pt</a:t>
            </a:r>
            <a:endParaRPr lang="de-DE" noProof="0" dirty="0"/>
          </a:p>
        </p:txBody>
      </p:sp>
      <p:sp>
        <p:nvSpPr>
          <p:cNvPr id="8" name="Textplatzhalter 2">
            <a:extLst>
              <a:ext uri="{FF2B5EF4-FFF2-40B4-BE49-F238E27FC236}">
                <a16:creationId xmlns:a16="http://schemas.microsoft.com/office/drawing/2014/main" id="{D24C9ED1-541A-43F7-B3C7-0D315A80BDE4}"/>
              </a:ext>
            </a:extLst>
          </p:cNvPr>
          <p:cNvSpPr>
            <a:spLocks noGrp="1"/>
          </p:cNvSpPr>
          <p:nvPr>
            <p:ph type="body" sz="quarter" idx="13" hasCustomPrompt="1"/>
          </p:nvPr>
        </p:nvSpPr>
        <p:spPr>
          <a:xfrm>
            <a:off x="479425" y="156260"/>
            <a:ext cx="11233150" cy="430887"/>
          </a:xfrm>
        </p:spPr>
        <p:txBody>
          <a:bodyPr anchor="b">
            <a:spAutoFit/>
          </a:bodyPr>
          <a:lstStyle>
            <a:lvl1pPr>
              <a:spcAft>
                <a:spcPts val="0"/>
              </a:spcAft>
              <a:defRPr sz="1400" b="0" i="1">
                <a:solidFill>
                  <a:schemeClr val="accent1"/>
                </a:solidFill>
              </a:defRPr>
            </a:lvl1pPr>
            <a:lvl2pPr>
              <a:defRPr sz="1400" b="0" i="1">
                <a:solidFill>
                  <a:schemeClr val="accent1"/>
                </a:solidFill>
              </a:defRPr>
            </a:lvl2pPr>
            <a:lvl3pPr>
              <a:defRPr sz="1400" b="0" i="1">
                <a:solidFill>
                  <a:schemeClr val="accent1"/>
                </a:solidFill>
              </a:defRPr>
            </a:lvl3pPr>
            <a:lvl4pPr>
              <a:defRPr sz="1400" b="0" i="1">
                <a:solidFill>
                  <a:schemeClr val="accent1"/>
                </a:solidFill>
              </a:defRPr>
            </a:lvl4pPr>
            <a:lvl5pPr>
              <a:defRPr sz="1400" b="0" i="1">
                <a:solidFill>
                  <a:schemeClr val="accent1"/>
                </a:solidFill>
              </a:defRPr>
            </a:lvl5pPr>
          </a:lstStyle>
          <a:p>
            <a:pPr lvl="0"/>
            <a:r>
              <a:rPr lang="de-DE" dirty="0" err="1"/>
              <a:t>Topline</a:t>
            </a:r>
            <a:r>
              <a:rPr lang="de-DE" dirty="0"/>
              <a:t> (z.B. Kapitel/kurze Beschreibung), PT Sans kursiv, 14 </a:t>
            </a:r>
            <a:r>
              <a:rPr lang="de-DE" dirty="0" err="1"/>
              <a:t>pt</a:t>
            </a:r>
            <a:br>
              <a:rPr lang="de-DE" dirty="0"/>
            </a:br>
            <a:r>
              <a:rPr lang="de-DE" dirty="0"/>
              <a:t>Optional: Zweizeilig</a:t>
            </a:r>
          </a:p>
        </p:txBody>
      </p:sp>
    </p:spTree>
    <p:extLst>
      <p:ext uri="{BB962C8B-B14F-4D97-AF65-F5344CB8AC3E}">
        <p14:creationId xmlns:p14="http://schemas.microsoft.com/office/powerpoint/2010/main" val="4294656947"/>
      </p:ext>
    </p:extLst>
  </p:cSld>
  <p:clrMapOvr>
    <a:masterClrMapping/>
  </p:clrMapOvr>
  <p:extLst>
    <p:ext uri="{DCECCB84-F9BA-43D5-87BE-67443E8EF086}">
      <p15:sldGuideLst xmlns:p15="http://schemas.microsoft.com/office/powerpoint/2012/main">
        <p15:guide id="2" orient="horz" pos="1734" userDrawn="1">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Fragen und Ansprechpartner">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01E98D16-7064-413E-90AB-794918023785}"/>
              </a:ext>
            </a:extLst>
          </p:cNvPr>
          <p:cNvGraphicFramePr>
            <a:graphicFrameLocks noChangeAspect="1"/>
          </p:cNvGraphicFramePr>
          <p:nvPr userDrawn="1">
            <p:custDataLst>
              <p:tags r:id="rId1"/>
            </p:custDataLst>
            <p:extLst>
              <p:ext uri="{D42A27DB-BD31-4B8C-83A1-F6EECF244321}">
                <p14:modId xmlns:p14="http://schemas.microsoft.com/office/powerpoint/2010/main" val="24787767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5" name="Objekt 4" hidden="1">
                        <a:extLst>
                          <a:ext uri="{FF2B5EF4-FFF2-40B4-BE49-F238E27FC236}">
                            <a16:creationId xmlns:a16="http://schemas.microsoft.com/office/drawing/2014/main" id="{01E98D16-7064-413E-90AB-79491802378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0" name="Freihandform: Form 19">
            <a:extLst>
              <a:ext uri="{FF2B5EF4-FFF2-40B4-BE49-F238E27FC236}">
                <a16:creationId xmlns:a16="http://schemas.microsoft.com/office/drawing/2014/main" id="{B8D31B4D-04C4-41BC-AD10-705DEFBC0106}"/>
              </a:ext>
            </a:extLst>
          </p:cNvPr>
          <p:cNvSpPr/>
          <p:nvPr userDrawn="1"/>
        </p:nvSpPr>
        <p:spPr>
          <a:xfrm>
            <a:off x="10296483" y="461303"/>
            <a:ext cx="1418877" cy="908488"/>
          </a:xfrm>
          <a:custGeom>
            <a:avLst/>
            <a:gdLst>
              <a:gd name="connsiteX0" fmla="*/ 1335832 w 1418877"/>
              <a:gd name="connsiteY0" fmla="*/ 1433 h 908488"/>
              <a:gd name="connsiteX1" fmla="*/ 1335782 w 1418877"/>
              <a:gd name="connsiteY1" fmla="*/ 1508 h 908488"/>
              <a:gd name="connsiteX2" fmla="*/ 1414800 w 1418877"/>
              <a:gd name="connsiteY2" fmla="*/ 91063 h 908488"/>
              <a:gd name="connsiteX3" fmla="*/ 1241397 w 1418877"/>
              <a:gd name="connsiteY3" fmla="*/ 753864 h 908488"/>
              <a:gd name="connsiteX4" fmla="*/ 1090720 w 1418877"/>
              <a:gd name="connsiteY4" fmla="*/ 871176 h 908488"/>
              <a:gd name="connsiteX5" fmla="*/ 70625 w 1418877"/>
              <a:gd name="connsiteY5" fmla="*/ 908395 h 908488"/>
              <a:gd name="connsiteX6" fmla="*/ 6150 w 1418877"/>
              <a:gd name="connsiteY6" fmla="*/ 818439 h 908488"/>
              <a:gd name="connsiteX7" fmla="*/ 202304 w 1418877"/>
              <a:gd name="connsiteY7" fmla="*/ 301809 h 908488"/>
              <a:gd name="connsiteX8" fmla="*/ 370977 w 1418877"/>
              <a:gd name="connsiteY8" fmla="*/ 162171 h 908488"/>
              <a:gd name="connsiteX9" fmla="*/ 1335832 w 1418877"/>
              <a:gd name="connsiteY9" fmla="*/ 1433 h 9084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18877" h="908488">
                <a:moveTo>
                  <a:pt x="1335832" y="1433"/>
                </a:moveTo>
                <a:lnTo>
                  <a:pt x="1335782" y="1508"/>
                </a:lnTo>
                <a:cubicBezTo>
                  <a:pt x="1397054" y="-8004"/>
                  <a:pt x="1431144" y="28139"/>
                  <a:pt x="1414800" y="91063"/>
                </a:cubicBezTo>
                <a:cubicBezTo>
                  <a:pt x="1399082" y="151934"/>
                  <a:pt x="1241397" y="753864"/>
                  <a:pt x="1241397" y="753864"/>
                </a:cubicBezTo>
                <a:cubicBezTo>
                  <a:pt x="1225879" y="813283"/>
                  <a:pt x="1181677" y="867096"/>
                  <a:pt x="1090720" y="871176"/>
                </a:cubicBezTo>
                <a:cubicBezTo>
                  <a:pt x="1090720" y="871176"/>
                  <a:pt x="126090" y="906117"/>
                  <a:pt x="70625" y="908395"/>
                </a:cubicBezTo>
                <a:cubicBezTo>
                  <a:pt x="12782" y="910697"/>
                  <a:pt x="-12747" y="870000"/>
                  <a:pt x="6150" y="818439"/>
                </a:cubicBezTo>
                <a:cubicBezTo>
                  <a:pt x="25047" y="766879"/>
                  <a:pt x="162883" y="380376"/>
                  <a:pt x="202304" y="301809"/>
                </a:cubicBezTo>
                <a:cubicBezTo>
                  <a:pt x="241726" y="223242"/>
                  <a:pt x="292810" y="183145"/>
                  <a:pt x="370977" y="162171"/>
                </a:cubicBezTo>
                <a:cubicBezTo>
                  <a:pt x="435728" y="144750"/>
                  <a:pt x="1273485" y="11119"/>
                  <a:pt x="1335832" y="1433"/>
                </a:cubicBezTo>
                <a:close/>
              </a:path>
            </a:pathLst>
          </a:custGeom>
          <a:solidFill>
            <a:schemeClr val="tx1"/>
          </a:solidFill>
          <a:ln w="19050" cap="flat">
            <a:solidFill>
              <a:schemeClr val="tx1"/>
            </a:solidFill>
            <a:prstDash val="solid"/>
            <a:miter/>
          </a:ln>
        </p:spPr>
        <p:txBody>
          <a:bodyPr wrap="square" rtlCol="0" anchor="ctr">
            <a:noAutofit/>
          </a:bodyPr>
          <a:lstStyle/>
          <a:p>
            <a:endParaRPr lang="de-DE"/>
          </a:p>
        </p:txBody>
      </p:sp>
      <p:sp>
        <p:nvSpPr>
          <p:cNvPr id="16" name="Rechteck 15">
            <a:extLst>
              <a:ext uri="{FF2B5EF4-FFF2-40B4-BE49-F238E27FC236}">
                <a16:creationId xmlns:a16="http://schemas.microsoft.com/office/drawing/2014/main" id="{0C2A6393-2D0C-48A5-949A-F8459F9CCB0F}"/>
              </a:ext>
            </a:extLst>
          </p:cNvPr>
          <p:cNvSpPr>
            <a:spLocks/>
          </p:cNvSpPr>
          <p:nvPr userDrawn="1"/>
        </p:nvSpPr>
        <p:spPr bwMode="gray">
          <a:xfrm>
            <a:off x="200439" y="2558374"/>
            <a:ext cx="7153671" cy="4087923"/>
          </a:xfrm>
          <a:prstGeom prst="rect">
            <a:avLst/>
          </a:prstGeom>
          <a:solidFill>
            <a:srgbClr val="2F4D72"/>
          </a:solidFill>
          <a:ln w="9525" cap="flat">
            <a:noFill/>
            <a:prstDash val="solid"/>
            <a:miter/>
          </a:ln>
        </p:spPr>
        <p:txBody>
          <a:bodyPr wrap="square" rtlCol="0" anchor="ctr">
            <a:noAutofit/>
          </a:bodyPr>
          <a:lstStyle/>
          <a:p>
            <a:pPr rtl="0"/>
            <a:endParaRPr lang="de-DE" noProof="0" dirty="0">
              <a:solidFill>
                <a:schemeClr val="bg1"/>
              </a:solidFill>
            </a:endParaRPr>
          </a:p>
        </p:txBody>
      </p:sp>
      <p:sp>
        <p:nvSpPr>
          <p:cNvPr id="15" name="Bildplatzhalter 14">
            <a:extLst>
              <a:ext uri="{FF2B5EF4-FFF2-40B4-BE49-F238E27FC236}">
                <a16:creationId xmlns:a16="http://schemas.microsoft.com/office/drawing/2014/main" id="{AF22BA67-763D-43EA-AA83-2A30A79049E5}"/>
              </a:ext>
            </a:extLst>
          </p:cNvPr>
          <p:cNvSpPr>
            <a:spLocks noGrp="1"/>
          </p:cNvSpPr>
          <p:nvPr>
            <p:ph type="pic" sz="quarter" idx="14" hasCustomPrompt="1"/>
          </p:nvPr>
        </p:nvSpPr>
        <p:spPr bwMode="gray">
          <a:xfrm>
            <a:off x="200438" y="211702"/>
            <a:ext cx="11791121" cy="6434593"/>
          </a:xfrm>
          <a:custGeom>
            <a:avLst/>
            <a:gdLst>
              <a:gd name="connsiteX0" fmla="*/ 11431877 w 11791121"/>
              <a:gd name="connsiteY0" fmla="*/ 251034 h 6434593"/>
              <a:gd name="connsiteX1" fmla="*/ 10467022 w 11791121"/>
              <a:gd name="connsiteY1" fmla="*/ 411772 h 6434593"/>
              <a:gd name="connsiteX2" fmla="*/ 10298349 w 11791121"/>
              <a:gd name="connsiteY2" fmla="*/ 551410 h 6434593"/>
              <a:gd name="connsiteX3" fmla="*/ 10102195 w 11791121"/>
              <a:gd name="connsiteY3" fmla="*/ 1068040 h 6434593"/>
              <a:gd name="connsiteX4" fmla="*/ 10166670 w 11791121"/>
              <a:gd name="connsiteY4" fmla="*/ 1157996 h 6434593"/>
              <a:gd name="connsiteX5" fmla="*/ 11186765 w 11791121"/>
              <a:gd name="connsiteY5" fmla="*/ 1120777 h 6434593"/>
              <a:gd name="connsiteX6" fmla="*/ 11337442 w 11791121"/>
              <a:gd name="connsiteY6" fmla="*/ 1003465 h 6434593"/>
              <a:gd name="connsiteX7" fmla="*/ 11510845 w 11791121"/>
              <a:gd name="connsiteY7" fmla="*/ 340664 h 6434593"/>
              <a:gd name="connsiteX8" fmla="*/ 11431827 w 11791121"/>
              <a:gd name="connsiteY8" fmla="*/ 251109 h 6434593"/>
              <a:gd name="connsiteX9" fmla="*/ 0 w 11791121"/>
              <a:gd name="connsiteY9" fmla="*/ 0 h 6434593"/>
              <a:gd name="connsiteX10" fmla="*/ 11791121 w 11791121"/>
              <a:gd name="connsiteY10" fmla="*/ 0 h 6434593"/>
              <a:gd name="connsiteX11" fmla="*/ 11791121 w 11791121"/>
              <a:gd name="connsiteY11" fmla="*/ 6434593 h 6434593"/>
              <a:gd name="connsiteX12" fmla="*/ 7701171 w 11791121"/>
              <a:gd name="connsiteY12" fmla="*/ 6434593 h 6434593"/>
              <a:gd name="connsiteX13" fmla="*/ 6146929 w 11791121"/>
              <a:gd name="connsiteY13" fmla="*/ 6434593 h 6434593"/>
              <a:gd name="connsiteX14" fmla="*/ 5530091 w 11791121"/>
              <a:gd name="connsiteY14" fmla="*/ 6434593 h 6434593"/>
              <a:gd name="connsiteX15" fmla="*/ 5547474 w 11791121"/>
              <a:gd name="connsiteY15" fmla="*/ 6368220 h 6434593"/>
              <a:gd name="connsiteX16" fmla="*/ 6335981 w 11791121"/>
              <a:gd name="connsiteY16" fmla="*/ 3354612 h 6434593"/>
              <a:gd name="connsiteX17" fmla="*/ 6004041 w 11791121"/>
              <a:gd name="connsiteY17" fmla="*/ 2829103 h 6434593"/>
              <a:gd name="connsiteX18" fmla="*/ 5878759 w 11791121"/>
              <a:gd name="connsiteY18" fmla="*/ 2838065 h 6434593"/>
              <a:gd name="connsiteX19" fmla="*/ 300908 w 11791121"/>
              <a:gd name="connsiteY19" fmla="*/ 3766983 h 6434593"/>
              <a:gd name="connsiteX20" fmla="*/ 138770 w 11791121"/>
              <a:gd name="connsiteY20" fmla="*/ 3817936 h 6434593"/>
              <a:gd name="connsiteX21" fmla="*/ 2 w 11791121"/>
              <a:gd name="connsiteY21" fmla="*/ 3876402 h 6434593"/>
              <a:gd name="connsiteX22" fmla="*/ 2 w 11791121"/>
              <a:gd name="connsiteY22" fmla="*/ 6434593 h 6434593"/>
              <a:gd name="connsiteX23" fmla="*/ 0 w 11791121"/>
              <a:gd name="connsiteY23" fmla="*/ 6434593 h 6434593"/>
              <a:gd name="connsiteX24" fmla="*/ 0 w 11791121"/>
              <a:gd name="connsiteY24" fmla="*/ 2346670 h 64345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1791121" h="6434593">
                <a:moveTo>
                  <a:pt x="11431877" y="251034"/>
                </a:moveTo>
                <a:cubicBezTo>
                  <a:pt x="11369530" y="260720"/>
                  <a:pt x="10531773" y="394351"/>
                  <a:pt x="10467022" y="411772"/>
                </a:cubicBezTo>
                <a:cubicBezTo>
                  <a:pt x="10388855" y="432746"/>
                  <a:pt x="10337771" y="472843"/>
                  <a:pt x="10298349" y="551410"/>
                </a:cubicBezTo>
                <a:cubicBezTo>
                  <a:pt x="10258928" y="629977"/>
                  <a:pt x="10121092" y="1016480"/>
                  <a:pt x="10102195" y="1068040"/>
                </a:cubicBezTo>
                <a:cubicBezTo>
                  <a:pt x="10083298" y="1119601"/>
                  <a:pt x="10108827" y="1160298"/>
                  <a:pt x="10166670" y="1157996"/>
                </a:cubicBezTo>
                <a:cubicBezTo>
                  <a:pt x="10222135" y="1155718"/>
                  <a:pt x="11186765" y="1120777"/>
                  <a:pt x="11186765" y="1120777"/>
                </a:cubicBezTo>
                <a:cubicBezTo>
                  <a:pt x="11277722" y="1116697"/>
                  <a:pt x="11321924" y="1062884"/>
                  <a:pt x="11337442" y="1003465"/>
                </a:cubicBezTo>
                <a:cubicBezTo>
                  <a:pt x="11337442" y="1003465"/>
                  <a:pt x="11495127" y="401535"/>
                  <a:pt x="11510845" y="340664"/>
                </a:cubicBezTo>
                <a:cubicBezTo>
                  <a:pt x="11527189" y="277740"/>
                  <a:pt x="11493099" y="241597"/>
                  <a:pt x="11431827" y="251109"/>
                </a:cubicBezTo>
                <a:close/>
                <a:moveTo>
                  <a:pt x="0" y="0"/>
                </a:moveTo>
                <a:lnTo>
                  <a:pt x="11791121" y="0"/>
                </a:lnTo>
                <a:lnTo>
                  <a:pt x="11791121" y="6434593"/>
                </a:lnTo>
                <a:lnTo>
                  <a:pt x="7701171" y="6434593"/>
                </a:lnTo>
                <a:lnTo>
                  <a:pt x="6146929" y="6434593"/>
                </a:lnTo>
                <a:lnTo>
                  <a:pt x="5530091" y="6434593"/>
                </a:lnTo>
                <a:lnTo>
                  <a:pt x="5547474" y="6368220"/>
                </a:lnTo>
                <a:cubicBezTo>
                  <a:pt x="5822877" y="5316638"/>
                  <a:pt x="6273312" y="3596337"/>
                  <a:pt x="6335981" y="3354612"/>
                </a:cubicBezTo>
                <a:cubicBezTo>
                  <a:pt x="6418276" y="3035567"/>
                  <a:pt x="6277902" y="2836165"/>
                  <a:pt x="6004041" y="2829103"/>
                </a:cubicBezTo>
                <a:cubicBezTo>
                  <a:pt x="5964917" y="2828094"/>
                  <a:pt x="5923070" y="2831011"/>
                  <a:pt x="5878759" y="2838065"/>
                </a:cubicBezTo>
                <a:cubicBezTo>
                  <a:pt x="5518477" y="2893047"/>
                  <a:pt x="675658" y="3665699"/>
                  <a:pt x="300908" y="3766983"/>
                </a:cubicBezTo>
                <a:cubicBezTo>
                  <a:pt x="244479" y="3782175"/>
                  <a:pt x="190491" y="3799086"/>
                  <a:pt x="138770" y="3817936"/>
                </a:cubicBezTo>
                <a:lnTo>
                  <a:pt x="2" y="3876402"/>
                </a:lnTo>
                <a:lnTo>
                  <a:pt x="2" y="6434593"/>
                </a:lnTo>
                <a:lnTo>
                  <a:pt x="0" y="6434593"/>
                </a:lnTo>
                <a:lnTo>
                  <a:pt x="0" y="2346670"/>
                </a:lnTo>
                <a:close/>
              </a:path>
            </a:pathLst>
          </a:custGeom>
          <a:solidFill>
            <a:schemeClr val="bg2"/>
          </a:solidFill>
        </p:spPr>
        <p:txBody>
          <a:bodyPr wrap="square" lIns="108014" tIns="36005">
            <a:noAutofit/>
          </a:bodyPr>
          <a:lstStyle>
            <a:lvl1pPr>
              <a:spcAft>
                <a:spcPts val="0"/>
              </a:spcAft>
              <a:defRPr sz="1600" b="0">
                <a:sym typeface="Wingdings" panose="05000000000000000000" pitchFamily="2" charset="2"/>
              </a:defRPr>
            </a:lvl1pPr>
          </a:lstStyle>
          <a:p>
            <a:r>
              <a:rPr lang="de-DE" noProof="0" dirty="0"/>
              <a:t>Hier geht’s zur Bilder-Bibliothek:  Schnellzugriff  </a:t>
            </a:r>
            <a:r>
              <a:rPr lang="de-DE" noProof="0" dirty="0" err="1"/>
              <a:t>PPT_Bilder_Vorlagen</a:t>
            </a:r>
            <a:endParaRPr lang="de-DE" noProof="0" dirty="0"/>
          </a:p>
        </p:txBody>
      </p:sp>
      <p:sp>
        <p:nvSpPr>
          <p:cNvPr id="2" name="Titel 1">
            <a:extLst>
              <a:ext uri="{FF2B5EF4-FFF2-40B4-BE49-F238E27FC236}">
                <a16:creationId xmlns:a16="http://schemas.microsoft.com/office/drawing/2014/main" id="{5E46ADA1-AF22-413A-A734-CCC1D9AD7797}"/>
              </a:ext>
            </a:extLst>
          </p:cNvPr>
          <p:cNvSpPr>
            <a:spLocks noGrp="1"/>
          </p:cNvSpPr>
          <p:nvPr>
            <p:ph type="ctrTitle" hasCustomPrompt="1"/>
          </p:nvPr>
        </p:nvSpPr>
        <p:spPr bwMode="gray">
          <a:xfrm>
            <a:off x="1042286" y="4212807"/>
            <a:ext cx="4837814" cy="450573"/>
          </a:xfrm>
        </p:spPr>
        <p:txBody>
          <a:bodyPr vert="horz" anchor="t">
            <a:noAutofit/>
          </a:bodyPr>
          <a:lstStyle>
            <a:lvl1pPr algn="l" rtl="0">
              <a:lnSpc>
                <a:spcPct val="80000"/>
              </a:lnSpc>
              <a:spcBef>
                <a:spcPts val="0"/>
              </a:spcBef>
              <a:spcAft>
                <a:spcPts val="0"/>
              </a:spcAft>
              <a:defRPr sz="3600" b="1">
                <a:solidFill>
                  <a:schemeClr val="accent1"/>
                </a:solidFill>
              </a:defRPr>
            </a:lvl1pPr>
          </a:lstStyle>
          <a:p>
            <a:r>
              <a:rPr lang="de-DE" noProof="0" dirty="0"/>
              <a:t>Haben Sie noch Fragen?</a:t>
            </a:r>
          </a:p>
        </p:txBody>
      </p:sp>
      <p:sp>
        <p:nvSpPr>
          <p:cNvPr id="3" name="Untertitel 2">
            <a:extLst>
              <a:ext uri="{FF2B5EF4-FFF2-40B4-BE49-F238E27FC236}">
                <a16:creationId xmlns:a16="http://schemas.microsoft.com/office/drawing/2014/main" id="{258D0788-6273-4724-9B62-0B33B18BC6BD}"/>
              </a:ext>
            </a:extLst>
          </p:cNvPr>
          <p:cNvSpPr>
            <a:spLocks noGrp="1"/>
          </p:cNvSpPr>
          <p:nvPr>
            <p:ph type="subTitle" idx="1" hasCustomPrompt="1"/>
          </p:nvPr>
        </p:nvSpPr>
        <p:spPr bwMode="gray">
          <a:xfrm>
            <a:off x="1042284" y="4775921"/>
            <a:ext cx="4837813" cy="553998"/>
          </a:xfrm>
        </p:spPr>
        <p:txBody>
          <a:bodyPr>
            <a:noAutofit/>
          </a:bodyPr>
          <a:lstStyle>
            <a:lvl1pPr marL="0" indent="0" algn="l" rtl="0">
              <a:spcBef>
                <a:spcPts val="0"/>
              </a:spcBef>
              <a:spcAft>
                <a:spcPts val="0"/>
              </a:spcAft>
              <a:buNone/>
              <a:defRPr sz="1800" b="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noProof="0" dirty="0"/>
              <a:t>Ihr persönlicher Ansprechpartner </a:t>
            </a:r>
            <a:br>
              <a:rPr lang="de-DE" noProof="0" dirty="0"/>
            </a:br>
            <a:r>
              <a:rPr lang="de-DE" noProof="0" dirty="0"/>
              <a:t>steht ihnen sehr gerne zur Verfügung.</a:t>
            </a:r>
          </a:p>
        </p:txBody>
      </p:sp>
      <p:sp>
        <p:nvSpPr>
          <p:cNvPr id="9" name="Textplatzhalter 8">
            <a:extLst>
              <a:ext uri="{FF2B5EF4-FFF2-40B4-BE49-F238E27FC236}">
                <a16:creationId xmlns:a16="http://schemas.microsoft.com/office/drawing/2014/main" id="{F963E73E-C3B7-4B41-882B-6480581EA544}"/>
              </a:ext>
            </a:extLst>
          </p:cNvPr>
          <p:cNvSpPr>
            <a:spLocks noGrp="1"/>
          </p:cNvSpPr>
          <p:nvPr>
            <p:ph type="body" sz="quarter" idx="13" hasCustomPrompt="1"/>
          </p:nvPr>
        </p:nvSpPr>
        <p:spPr bwMode="gray">
          <a:xfrm>
            <a:off x="1042285" y="5521076"/>
            <a:ext cx="4837813" cy="553998"/>
          </a:xfrm>
        </p:spPr>
        <p:txBody>
          <a:bodyPr>
            <a:noAutofit/>
          </a:bodyPr>
          <a:lstStyle>
            <a:lvl1pPr rtl="0">
              <a:spcBef>
                <a:spcPts val="0"/>
              </a:spcBef>
              <a:spcAft>
                <a:spcPts val="0"/>
              </a:spcAft>
              <a:defRPr sz="1200" b="0">
                <a:solidFill>
                  <a:schemeClr val="bg1"/>
                </a:solidFill>
              </a:defRPr>
            </a:lvl1pPr>
          </a:lstStyle>
          <a:p>
            <a:pPr lvl="0"/>
            <a:r>
              <a:rPr lang="de-DE" noProof="0" dirty="0"/>
              <a:t>Informationen über die einfache und schnelle Anbindung </a:t>
            </a:r>
            <a:br>
              <a:rPr lang="de-DE" noProof="0" dirty="0"/>
            </a:br>
            <a:r>
              <a:rPr lang="de-DE" noProof="0" dirty="0"/>
              <a:t>als Makler bei der Fonds Finanz finden Sie unter </a:t>
            </a:r>
            <a:br>
              <a:rPr lang="de-DE" noProof="0" dirty="0"/>
            </a:br>
            <a:r>
              <a:rPr lang="de-DE" noProof="0" dirty="0"/>
              <a:t>www.fondsfinanz.de/meine-fonds-finanz/anbindung </a:t>
            </a:r>
          </a:p>
        </p:txBody>
      </p:sp>
      <p:sp>
        <p:nvSpPr>
          <p:cNvPr id="13" name="Freihandform: Form 12">
            <a:extLst>
              <a:ext uri="{FF2B5EF4-FFF2-40B4-BE49-F238E27FC236}">
                <a16:creationId xmlns:a16="http://schemas.microsoft.com/office/drawing/2014/main" id="{6E926275-ED70-4B80-8456-79A6A955E83E}"/>
              </a:ext>
            </a:extLst>
          </p:cNvPr>
          <p:cNvSpPr/>
          <p:nvPr userDrawn="1"/>
        </p:nvSpPr>
        <p:spPr>
          <a:xfrm>
            <a:off x="10442163" y="762329"/>
            <a:ext cx="977020" cy="497591"/>
          </a:xfrm>
          <a:custGeom>
            <a:avLst/>
            <a:gdLst>
              <a:gd name="connsiteX0" fmla="*/ 514353 w 977020"/>
              <a:gd name="connsiteY0" fmla="*/ 411433 h 497591"/>
              <a:gd name="connsiteX1" fmla="*/ 495255 w 977020"/>
              <a:gd name="connsiteY1" fmla="*/ 414837 h 497591"/>
              <a:gd name="connsiteX2" fmla="*/ 482040 w 977020"/>
              <a:gd name="connsiteY2" fmla="*/ 422346 h 497591"/>
              <a:gd name="connsiteX3" fmla="*/ 477034 w 977020"/>
              <a:gd name="connsiteY3" fmla="*/ 434861 h 497591"/>
              <a:gd name="connsiteX4" fmla="*/ 483291 w 977020"/>
              <a:gd name="connsiteY4" fmla="*/ 451305 h 497591"/>
              <a:gd name="connsiteX5" fmla="*/ 500587 w 977020"/>
              <a:gd name="connsiteY5" fmla="*/ 457162 h 497591"/>
              <a:gd name="connsiteX6" fmla="*/ 524014 w 977020"/>
              <a:gd name="connsiteY6" fmla="*/ 450554 h 497591"/>
              <a:gd name="connsiteX7" fmla="*/ 536879 w 977020"/>
              <a:gd name="connsiteY7" fmla="*/ 436363 h 497591"/>
              <a:gd name="connsiteX8" fmla="*/ 536879 w 977020"/>
              <a:gd name="connsiteY8" fmla="*/ 411809 h 497591"/>
              <a:gd name="connsiteX9" fmla="*/ 514353 w 977020"/>
              <a:gd name="connsiteY9" fmla="*/ 411433 h 497591"/>
              <a:gd name="connsiteX10" fmla="*/ 823064 w 977020"/>
              <a:gd name="connsiteY10" fmla="*/ 305384 h 497591"/>
              <a:gd name="connsiteX11" fmla="*/ 971288 w 977020"/>
              <a:gd name="connsiteY11" fmla="*/ 305384 h 497591"/>
              <a:gd name="connsiteX12" fmla="*/ 971288 w 977020"/>
              <a:gd name="connsiteY12" fmla="*/ 347033 h 497591"/>
              <a:gd name="connsiteX13" fmla="*/ 897552 w 977020"/>
              <a:gd name="connsiteY13" fmla="*/ 438215 h 497591"/>
              <a:gd name="connsiteX14" fmla="*/ 878655 w 977020"/>
              <a:gd name="connsiteY14" fmla="*/ 452957 h 497591"/>
              <a:gd name="connsiteX15" fmla="*/ 971263 w 977020"/>
              <a:gd name="connsiteY15" fmla="*/ 452957 h 497591"/>
              <a:gd name="connsiteX16" fmla="*/ 971263 w 977020"/>
              <a:gd name="connsiteY16" fmla="*/ 494556 h 497591"/>
              <a:gd name="connsiteX17" fmla="*/ 823064 w 977020"/>
              <a:gd name="connsiteY17" fmla="*/ 494556 h 497591"/>
              <a:gd name="connsiteX18" fmla="*/ 823064 w 977020"/>
              <a:gd name="connsiteY18" fmla="*/ 452957 h 497591"/>
              <a:gd name="connsiteX19" fmla="*/ 897552 w 977020"/>
              <a:gd name="connsiteY19" fmla="*/ 363352 h 497591"/>
              <a:gd name="connsiteX20" fmla="*/ 916824 w 977020"/>
              <a:gd name="connsiteY20" fmla="*/ 347083 h 497591"/>
              <a:gd name="connsiteX21" fmla="*/ 823064 w 977020"/>
              <a:gd name="connsiteY21" fmla="*/ 347083 h 497591"/>
              <a:gd name="connsiteX22" fmla="*/ 517607 w 977020"/>
              <a:gd name="connsiteY22" fmla="*/ 301705 h 497591"/>
              <a:gd name="connsiteX23" fmla="*/ 550495 w 977020"/>
              <a:gd name="connsiteY23" fmla="*/ 306435 h 497591"/>
              <a:gd name="connsiteX24" fmla="*/ 582457 w 977020"/>
              <a:gd name="connsiteY24" fmla="*/ 340650 h 497591"/>
              <a:gd name="connsiteX25" fmla="*/ 585686 w 977020"/>
              <a:gd name="connsiteY25" fmla="*/ 367882 h 497591"/>
              <a:gd name="connsiteX26" fmla="*/ 584535 w 977020"/>
              <a:gd name="connsiteY26" fmla="*/ 401346 h 497591"/>
              <a:gd name="connsiteX27" fmla="*/ 583183 w 977020"/>
              <a:gd name="connsiteY27" fmla="*/ 434435 h 497591"/>
              <a:gd name="connsiteX28" fmla="*/ 584109 w 977020"/>
              <a:gd name="connsiteY28" fmla="*/ 465997 h 497591"/>
              <a:gd name="connsiteX29" fmla="*/ 589791 w 977020"/>
              <a:gd name="connsiteY29" fmla="*/ 494931 h 497591"/>
              <a:gd name="connsiteX30" fmla="*/ 549744 w 977020"/>
              <a:gd name="connsiteY30" fmla="*/ 494931 h 497591"/>
              <a:gd name="connsiteX31" fmla="*/ 541785 w 977020"/>
              <a:gd name="connsiteY31" fmla="*/ 468851 h 497591"/>
              <a:gd name="connsiteX32" fmla="*/ 539908 w 977020"/>
              <a:gd name="connsiteY32" fmla="*/ 468851 h 497591"/>
              <a:gd name="connsiteX33" fmla="*/ 518933 w 977020"/>
              <a:gd name="connsiteY33" fmla="*/ 489074 h 497591"/>
              <a:gd name="connsiteX34" fmla="*/ 484317 w 977020"/>
              <a:gd name="connsiteY34" fmla="*/ 497584 h 497591"/>
              <a:gd name="connsiteX35" fmla="*/ 460490 w 977020"/>
              <a:gd name="connsiteY35" fmla="*/ 493605 h 497591"/>
              <a:gd name="connsiteX36" fmla="*/ 430505 w 977020"/>
              <a:gd name="connsiteY36" fmla="*/ 464871 h 497591"/>
              <a:gd name="connsiteX37" fmla="*/ 426350 w 977020"/>
              <a:gd name="connsiteY37" fmla="*/ 442345 h 497591"/>
              <a:gd name="connsiteX38" fmla="*/ 434084 w 977020"/>
              <a:gd name="connsiteY38" fmla="*/ 413035 h 497591"/>
              <a:gd name="connsiteX39" fmla="*/ 456410 w 977020"/>
              <a:gd name="connsiteY39" fmla="*/ 393763 h 497591"/>
              <a:gd name="connsiteX40" fmla="*/ 491201 w 977020"/>
              <a:gd name="connsiteY40" fmla="*/ 383551 h 497591"/>
              <a:gd name="connsiteX41" fmla="*/ 536378 w 977020"/>
              <a:gd name="connsiteY41" fmla="*/ 381849 h 497591"/>
              <a:gd name="connsiteX42" fmla="*/ 533350 w 977020"/>
              <a:gd name="connsiteY42" fmla="*/ 351413 h 497591"/>
              <a:gd name="connsiteX43" fmla="*/ 533475 w 977020"/>
              <a:gd name="connsiteY43" fmla="*/ 351438 h 497591"/>
              <a:gd name="connsiteX44" fmla="*/ 508145 w 977020"/>
              <a:gd name="connsiteY44" fmla="*/ 342177 h 497591"/>
              <a:gd name="connsiteX45" fmla="*/ 476959 w 977020"/>
              <a:gd name="connsiteY45" fmla="*/ 345206 h 497591"/>
              <a:gd name="connsiteX46" fmla="*/ 449902 w 977020"/>
              <a:gd name="connsiteY46" fmla="*/ 353140 h 497591"/>
              <a:gd name="connsiteX47" fmla="*/ 438189 w 977020"/>
              <a:gd name="connsiteY47" fmla="*/ 316472 h 497591"/>
              <a:gd name="connsiteX48" fmla="*/ 474105 w 977020"/>
              <a:gd name="connsiteY48" fmla="*/ 305684 h 497591"/>
              <a:gd name="connsiteX49" fmla="*/ 517607 w 977020"/>
              <a:gd name="connsiteY49" fmla="*/ 301705 h 497591"/>
              <a:gd name="connsiteX50" fmla="*/ 339448 w 977020"/>
              <a:gd name="connsiteY50" fmla="*/ 300253 h 497591"/>
              <a:gd name="connsiteX51" fmla="*/ 364477 w 977020"/>
              <a:gd name="connsiteY51" fmla="*/ 304032 h 497591"/>
              <a:gd name="connsiteX52" fmla="*/ 383024 w 977020"/>
              <a:gd name="connsiteY52" fmla="*/ 316547 h 497591"/>
              <a:gd name="connsiteX53" fmla="*/ 394362 w 977020"/>
              <a:gd name="connsiteY53" fmla="*/ 340175 h 497591"/>
              <a:gd name="connsiteX54" fmla="*/ 397966 w 977020"/>
              <a:gd name="connsiteY54" fmla="*/ 377068 h 497591"/>
              <a:gd name="connsiteX55" fmla="*/ 397966 w 977020"/>
              <a:gd name="connsiteY55" fmla="*/ 494706 h 497591"/>
              <a:gd name="connsiteX56" fmla="*/ 348909 w 977020"/>
              <a:gd name="connsiteY56" fmla="*/ 494706 h 497591"/>
              <a:gd name="connsiteX57" fmla="*/ 348909 w 977020"/>
              <a:gd name="connsiteY57" fmla="*/ 387080 h 497591"/>
              <a:gd name="connsiteX58" fmla="*/ 342276 w 977020"/>
              <a:gd name="connsiteY58" fmla="*/ 353816 h 497591"/>
              <a:gd name="connsiteX59" fmla="*/ 319750 w 977020"/>
              <a:gd name="connsiteY59" fmla="*/ 343604 h 497591"/>
              <a:gd name="connsiteX60" fmla="*/ 296097 w 977020"/>
              <a:gd name="connsiteY60" fmla="*/ 351738 h 497591"/>
              <a:gd name="connsiteX61" fmla="*/ 282306 w 977020"/>
              <a:gd name="connsiteY61" fmla="*/ 371962 h 497591"/>
              <a:gd name="connsiteX62" fmla="*/ 282306 w 977020"/>
              <a:gd name="connsiteY62" fmla="*/ 494481 h 497591"/>
              <a:gd name="connsiteX63" fmla="*/ 233198 w 977020"/>
              <a:gd name="connsiteY63" fmla="*/ 494481 h 497591"/>
              <a:gd name="connsiteX64" fmla="*/ 233198 w 977020"/>
              <a:gd name="connsiteY64" fmla="*/ 305484 h 497591"/>
              <a:gd name="connsiteX65" fmla="*/ 272144 w 977020"/>
              <a:gd name="connsiteY65" fmla="*/ 305484 h 497591"/>
              <a:gd name="connsiteX66" fmla="*/ 277826 w 977020"/>
              <a:gd name="connsiteY66" fmla="*/ 330514 h 497591"/>
              <a:gd name="connsiteX67" fmla="*/ 279327 w 977020"/>
              <a:gd name="connsiteY67" fmla="*/ 330514 h 497591"/>
              <a:gd name="connsiteX68" fmla="*/ 302404 w 977020"/>
              <a:gd name="connsiteY68" fmla="*/ 309339 h 497591"/>
              <a:gd name="connsiteX69" fmla="*/ 339448 w 977020"/>
              <a:gd name="connsiteY69" fmla="*/ 300253 h 497591"/>
              <a:gd name="connsiteX70" fmla="*/ 733109 w 977020"/>
              <a:gd name="connsiteY70" fmla="*/ 300228 h 497591"/>
              <a:gd name="connsiteX71" fmla="*/ 758138 w 977020"/>
              <a:gd name="connsiteY71" fmla="*/ 304007 h 497591"/>
              <a:gd name="connsiteX72" fmla="*/ 776685 w 977020"/>
              <a:gd name="connsiteY72" fmla="*/ 316522 h 497591"/>
              <a:gd name="connsiteX73" fmla="*/ 788023 w 977020"/>
              <a:gd name="connsiteY73" fmla="*/ 340150 h 497591"/>
              <a:gd name="connsiteX74" fmla="*/ 791678 w 977020"/>
              <a:gd name="connsiteY74" fmla="*/ 377068 h 497591"/>
              <a:gd name="connsiteX75" fmla="*/ 791678 w 977020"/>
              <a:gd name="connsiteY75" fmla="*/ 494706 h 497591"/>
              <a:gd name="connsiteX76" fmla="*/ 742520 w 977020"/>
              <a:gd name="connsiteY76" fmla="*/ 494706 h 497591"/>
              <a:gd name="connsiteX77" fmla="*/ 742520 w 977020"/>
              <a:gd name="connsiteY77" fmla="*/ 387080 h 497591"/>
              <a:gd name="connsiteX78" fmla="*/ 735912 w 977020"/>
              <a:gd name="connsiteY78" fmla="*/ 353816 h 497591"/>
              <a:gd name="connsiteX79" fmla="*/ 713386 w 977020"/>
              <a:gd name="connsiteY79" fmla="*/ 343604 h 497591"/>
              <a:gd name="connsiteX80" fmla="*/ 689758 w 977020"/>
              <a:gd name="connsiteY80" fmla="*/ 351738 h 497591"/>
              <a:gd name="connsiteX81" fmla="*/ 675942 w 977020"/>
              <a:gd name="connsiteY81" fmla="*/ 371962 h 497591"/>
              <a:gd name="connsiteX82" fmla="*/ 675942 w 977020"/>
              <a:gd name="connsiteY82" fmla="*/ 494481 h 497591"/>
              <a:gd name="connsiteX83" fmla="*/ 626810 w 977020"/>
              <a:gd name="connsiteY83" fmla="*/ 494481 h 497591"/>
              <a:gd name="connsiteX84" fmla="*/ 626734 w 977020"/>
              <a:gd name="connsiteY84" fmla="*/ 305459 h 497591"/>
              <a:gd name="connsiteX85" fmla="*/ 665780 w 977020"/>
              <a:gd name="connsiteY85" fmla="*/ 305459 h 497591"/>
              <a:gd name="connsiteX86" fmla="*/ 671462 w 977020"/>
              <a:gd name="connsiteY86" fmla="*/ 330489 h 497591"/>
              <a:gd name="connsiteX87" fmla="*/ 672989 w 977020"/>
              <a:gd name="connsiteY87" fmla="*/ 330489 h 497591"/>
              <a:gd name="connsiteX88" fmla="*/ 696041 w 977020"/>
              <a:gd name="connsiteY88" fmla="*/ 309314 h 497591"/>
              <a:gd name="connsiteX89" fmla="*/ 733109 w 977020"/>
              <a:gd name="connsiteY89" fmla="*/ 300228 h 497591"/>
              <a:gd name="connsiteX90" fmla="*/ 730506 w 977020"/>
              <a:gd name="connsiteY90" fmla="*/ 115762 h 497591"/>
              <a:gd name="connsiteX91" fmla="*/ 699295 w 977020"/>
              <a:gd name="connsiteY91" fmla="*/ 129753 h 497591"/>
              <a:gd name="connsiteX92" fmla="*/ 688907 w 977020"/>
              <a:gd name="connsiteY92" fmla="*/ 177785 h 497591"/>
              <a:gd name="connsiteX93" fmla="*/ 697417 w 977020"/>
              <a:gd name="connsiteY93" fmla="*/ 216730 h 497591"/>
              <a:gd name="connsiteX94" fmla="*/ 724449 w 977020"/>
              <a:gd name="connsiteY94" fmla="*/ 231472 h 497591"/>
              <a:gd name="connsiteX95" fmla="*/ 747125 w 977020"/>
              <a:gd name="connsiteY95" fmla="*/ 224464 h 497591"/>
              <a:gd name="connsiteX96" fmla="*/ 747125 w 977020"/>
              <a:gd name="connsiteY96" fmla="*/ 224389 h 497591"/>
              <a:gd name="connsiteX97" fmla="*/ 758864 w 977020"/>
              <a:gd name="connsiteY97" fmla="*/ 204166 h 497591"/>
              <a:gd name="connsiteX98" fmla="*/ 758864 w 977020"/>
              <a:gd name="connsiteY98" fmla="*/ 124072 h 497591"/>
              <a:gd name="connsiteX99" fmla="*/ 747125 w 977020"/>
              <a:gd name="connsiteY99" fmla="*/ 117839 h 497591"/>
              <a:gd name="connsiteX100" fmla="*/ 730506 w 977020"/>
              <a:gd name="connsiteY100" fmla="*/ 115762 h 497591"/>
              <a:gd name="connsiteX101" fmla="*/ 327108 w 977020"/>
              <a:gd name="connsiteY101" fmla="*/ 114986 h 497591"/>
              <a:gd name="connsiteX102" fmla="*/ 298750 w 977020"/>
              <a:gd name="connsiteY102" fmla="*/ 128602 h 497591"/>
              <a:gd name="connsiteX103" fmla="*/ 288538 w 977020"/>
              <a:gd name="connsiteY103" fmla="*/ 173204 h 497591"/>
              <a:gd name="connsiteX104" fmla="*/ 290816 w 977020"/>
              <a:gd name="connsiteY104" fmla="*/ 196281 h 497591"/>
              <a:gd name="connsiteX105" fmla="*/ 297599 w 977020"/>
              <a:gd name="connsiteY105" fmla="*/ 214803 h 497591"/>
              <a:gd name="connsiteX106" fmla="*/ 309513 w 977020"/>
              <a:gd name="connsiteY106" fmla="*/ 227092 h 497591"/>
              <a:gd name="connsiteX107" fmla="*/ 327033 w 977020"/>
              <a:gd name="connsiteY107" fmla="*/ 231447 h 497591"/>
              <a:gd name="connsiteX108" fmla="*/ 355767 w 977020"/>
              <a:gd name="connsiteY108" fmla="*/ 217456 h 497591"/>
              <a:gd name="connsiteX109" fmla="*/ 355842 w 977020"/>
              <a:gd name="connsiteY109" fmla="*/ 217456 h 497591"/>
              <a:gd name="connsiteX110" fmla="*/ 365303 w 977020"/>
              <a:gd name="connsiteY110" fmla="*/ 173204 h 497591"/>
              <a:gd name="connsiteX111" fmla="*/ 356593 w 977020"/>
              <a:gd name="connsiteY111" fmla="*/ 131055 h 497591"/>
              <a:gd name="connsiteX112" fmla="*/ 327108 w 977020"/>
              <a:gd name="connsiteY112" fmla="*/ 114986 h 497591"/>
              <a:gd name="connsiteX113" fmla="*/ 906262 w 977020"/>
              <a:gd name="connsiteY113" fmla="*/ 73413 h 497591"/>
              <a:gd name="connsiteX114" fmla="*/ 945207 w 977020"/>
              <a:gd name="connsiteY114" fmla="*/ 77968 h 497591"/>
              <a:gd name="connsiteX115" fmla="*/ 972439 w 977020"/>
              <a:gd name="connsiteY115" fmla="*/ 88155 h 497591"/>
              <a:gd name="connsiteX116" fmla="*/ 961477 w 977020"/>
              <a:gd name="connsiteY116" fmla="*/ 123721 h 497591"/>
              <a:gd name="connsiteX117" fmla="*/ 939551 w 977020"/>
              <a:gd name="connsiteY117" fmla="*/ 116538 h 497591"/>
              <a:gd name="connsiteX118" fmla="*/ 912694 w 977020"/>
              <a:gd name="connsiteY118" fmla="*/ 112734 h 497591"/>
              <a:gd name="connsiteX119" fmla="*/ 896250 w 977020"/>
              <a:gd name="connsiteY119" fmla="*/ 116989 h 497591"/>
              <a:gd name="connsiteX120" fmla="*/ 890833 w 977020"/>
              <a:gd name="connsiteY120" fmla="*/ 129603 h 497591"/>
              <a:gd name="connsiteX121" fmla="*/ 890819 w 977020"/>
              <a:gd name="connsiteY121" fmla="*/ 129578 h 497591"/>
              <a:gd name="connsiteX122" fmla="*/ 890769 w 977020"/>
              <a:gd name="connsiteY122" fmla="*/ 129753 h 497591"/>
              <a:gd name="connsiteX123" fmla="*/ 890833 w 977020"/>
              <a:gd name="connsiteY123" fmla="*/ 129603 h 497591"/>
              <a:gd name="connsiteX124" fmla="*/ 897226 w 977020"/>
              <a:gd name="connsiteY124" fmla="*/ 140541 h 497591"/>
              <a:gd name="connsiteX125" fmla="*/ 913120 w 977020"/>
              <a:gd name="connsiteY125" fmla="*/ 148300 h 497591"/>
              <a:gd name="connsiteX126" fmla="*/ 933919 w 977020"/>
              <a:gd name="connsiteY126" fmla="*/ 156059 h 497591"/>
              <a:gd name="connsiteX127" fmla="*/ 954719 w 977020"/>
              <a:gd name="connsiteY127" fmla="*/ 166822 h 497591"/>
              <a:gd name="connsiteX128" fmla="*/ 970612 w 977020"/>
              <a:gd name="connsiteY128" fmla="*/ 184042 h 497591"/>
              <a:gd name="connsiteX129" fmla="*/ 977020 w 977020"/>
              <a:gd name="connsiteY129" fmla="*/ 211249 h 497591"/>
              <a:gd name="connsiteX130" fmla="*/ 958698 w 977020"/>
              <a:gd name="connsiteY130" fmla="*/ 256301 h 497591"/>
              <a:gd name="connsiteX131" fmla="*/ 903634 w 977020"/>
              <a:gd name="connsiteY131" fmla="*/ 272771 h 497591"/>
              <a:gd name="connsiteX132" fmla="*/ 866090 w 977020"/>
              <a:gd name="connsiteY132" fmla="*/ 267765 h 497591"/>
              <a:gd name="connsiteX133" fmla="*/ 837557 w 977020"/>
              <a:gd name="connsiteY133" fmla="*/ 255851 h 497591"/>
              <a:gd name="connsiteX134" fmla="*/ 851122 w 977020"/>
              <a:gd name="connsiteY134" fmla="*/ 219383 h 497591"/>
              <a:gd name="connsiteX135" fmla="*/ 874174 w 977020"/>
              <a:gd name="connsiteY135" fmla="*/ 229020 h 497591"/>
              <a:gd name="connsiteX136" fmla="*/ 903684 w 977020"/>
              <a:gd name="connsiteY136" fmla="*/ 233725 h 497591"/>
              <a:gd name="connsiteX137" fmla="*/ 921204 w 977020"/>
              <a:gd name="connsiteY137" fmla="*/ 229570 h 497591"/>
              <a:gd name="connsiteX138" fmla="*/ 927837 w 977020"/>
              <a:gd name="connsiteY138" fmla="*/ 215604 h 497591"/>
              <a:gd name="connsiteX139" fmla="*/ 921405 w 977020"/>
              <a:gd name="connsiteY139" fmla="*/ 203490 h 497591"/>
              <a:gd name="connsiteX140" fmla="*/ 905511 w 977020"/>
              <a:gd name="connsiteY140" fmla="*/ 195180 h 497591"/>
              <a:gd name="connsiteX141" fmla="*/ 884711 w 977020"/>
              <a:gd name="connsiteY141" fmla="*/ 187421 h 497591"/>
              <a:gd name="connsiteX142" fmla="*/ 863937 w 977020"/>
              <a:gd name="connsiteY142" fmla="*/ 176458 h 497591"/>
              <a:gd name="connsiteX143" fmla="*/ 848044 w 977020"/>
              <a:gd name="connsiteY143" fmla="*/ 158687 h 497591"/>
              <a:gd name="connsiteX144" fmla="*/ 841611 w 977020"/>
              <a:gd name="connsiteY144" fmla="*/ 130880 h 497591"/>
              <a:gd name="connsiteX145" fmla="*/ 858256 w 977020"/>
              <a:gd name="connsiteY145" fmla="*/ 88155 h 497591"/>
              <a:gd name="connsiteX146" fmla="*/ 906262 w 977020"/>
              <a:gd name="connsiteY146" fmla="*/ 73413 h 497591"/>
              <a:gd name="connsiteX147" fmla="*/ 548993 w 977020"/>
              <a:gd name="connsiteY147" fmla="*/ 73413 h 497591"/>
              <a:gd name="connsiteX148" fmla="*/ 574023 w 977020"/>
              <a:gd name="connsiteY148" fmla="*/ 77192 h 497591"/>
              <a:gd name="connsiteX149" fmla="*/ 592544 w 977020"/>
              <a:gd name="connsiteY149" fmla="*/ 89706 h 497591"/>
              <a:gd name="connsiteX150" fmla="*/ 603883 w 977020"/>
              <a:gd name="connsiteY150" fmla="*/ 113334 h 497591"/>
              <a:gd name="connsiteX151" fmla="*/ 607662 w 977020"/>
              <a:gd name="connsiteY151" fmla="*/ 150202 h 497591"/>
              <a:gd name="connsiteX152" fmla="*/ 607537 w 977020"/>
              <a:gd name="connsiteY152" fmla="*/ 267665 h 497591"/>
              <a:gd name="connsiteX153" fmla="*/ 558454 w 977020"/>
              <a:gd name="connsiteY153" fmla="*/ 267665 h 497591"/>
              <a:gd name="connsiteX154" fmla="*/ 558454 w 977020"/>
              <a:gd name="connsiteY154" fmla="*/ 160314 h 497591"/>
              <a:gd name="connsiteX155" fmla="*/ 551847 w 977020"/>
              <a:gd name="connsiteY155" fmla="*/ 127025 h 497591"/>
              <a:gd name="connsiteX156" fmla="*/ 529320 w 977020"/>
              <a:gd name="connsiteY156" fmla="*/ 116838 h 497591"/>
              <a:gd name="connsiteX157" fmla="*/ 505693 w 977020"/>
              <a:gd name="connsiteY157" fmla="*/ 124948 h 497591"/>
              <a:gd name="connsiteX158" fmla="*/ 491876 w 977020"/>
              <a:gd name="connsiteY158" fmla="*/ 145171 h 497591"/>
              <a:gd name="connsiteX159" fmla="*/ 491876 w 977020"/>
              <a:gd name="connsiteY159" fmla="*/ 267690 h 497591"/>
              <a:gd name="connsiteX160" fmla="*/ 442744 w 977020"/>
              <a:gd name="connsiteY160" fmla="*/ 267690 h 497591"/>
              <a:gd name="connsiteX161" fmla="*/ 442744 w 977020"/>
              <a:gd name="connsiteY161" fmla="*/ 78644 h 497591"/>
              <a:gd name="connsiteX162" fmla="*/ 481689 w 977020"/>
              <a:gd name="connsiteY162" fmla="*/ 78644 h 497591"/>
              <a:gd name="connsiteX163" fmla="*/ 487371 w 977020"/>
              <a:gd name="connsiteY163" fmla="*/ 103673 h 497591"/>
              <a:gd name="connsiteX164" fmla="*/ 488873 w 977020"/>
              <a:gd name="connsiteY164" fmla="*/ 103673 h 497591"/>
              <a:gd name="connsiteX165" fmla="*/ 511950 w 977020"/>
              <a:gd name="connsiteY165" fmla="*/ 82498 h 497591"/>
              <a:gd name="connsiteX166" fmla="*/ 548993 w 977020"/>
              <a:gd name="connsiteY166" fmla="*/ 73413 h 497591"/>
              <a:gd name="connsiteX167" fmla="*/ 327008 w 977020"/>
              <a:gd name="connsiteY167" fmla="*/ 73337 h 497591"/>
              <a:gd name="connsiteX168" fmla="*/ 366329 w 977020"/>
              <a:gd name="connsiteY168" fmla="*/ 80521 h 497591"/>
              <a:gd name="connsiteX169" fmla="*/ 393862 w 977020"/>
              <a:gd name="connsiteY169" fmla="*/ 100769 h 497591"/>
              <a:gd name="connsiteX170" fmla="*/ 410481 w 977020"/>
              <a:gd name="connsiteY170" fmla="*/ 132331 h 497591"/>
              <a:gd name="connsiteX171" fmla="*/ 415963 w 977020"/>
              <a:gd name="connsiteY171" fmla="*/ 173154 h 497591"/>
              <a:gd name="connsiteX172" fmla="*/ 415812 w 977020"/>
              <a:gd name="connsiteY172" fmla="*/ 173154 h 497591"/>
              <a:gd name="connsiteX173" fmla="*/ 392560 w 977020"/>
              <a:gd name="connsiteY173" fmla="*/ 247091 h 497591"/>
              <a:gd name="connsiteX174" fmla="*/ 326958 w 977020"/>
              <a:gd name="connsiteY174" fmla="*/ 272996 h 497591"/>
              <a:gd name="connsiteX175" fmla="*/ 287837 w 977020"/>
              <a:gd name="connsiteY175" fmla="*/ 265813 h 497591"/>
              <a:gd name="connsiteX176" fmla="*/ 260030 w 977020"/>
              <a:gd name="connsiteY176" fmla="*/ 245589 h 497591"/>
              <a:gd name="connsiteX177" fmla="*/ 243410 w 977020"/>
              <a:gd name="connsiteY177" fmla="*/ 214002 h 497591"/>
              <a:gd name="connsiteX178" fmla="*/ 237779 w 977020"/>
              <a:gd name="connsiteY178" fmla="*/ 173154 h 497591"/>
              <a:gd name="connsiteX179" fmla="*/ 261206 w 977020"/>
              <a:gd name="connsiteY179" fmla="*/ 99243 h 497591"/>
              <a:gd name="connsiteX180" fmla="*/ 327008 w 977020"/>
              <a:gd name="connsiteY180" fmla="*/ 73337 h 497591"/>
              <a:gd name="connsiteX181" fmla="*/ 758864 w 977020"/>
              <a:gd name="connsiteY181" fmla="*/ 3005 h 497591"/>
              <a:gd name="connsiteX182" fmla="*/ 808022 w 977020"/>
              <a:gd name="connsiteY182" fmla="*/ 3005 h 497591"/>
              <a:gd name="connsiteX183" fmla="*/ 808022 w 977020"/>
              <a:gd name="connsiteY183" fmla="*/ 201137 h 497591"/>
              <a:gd name="connsiteX184" fmla="*/ 808397 w 977020"/>
              <a:gd name="connsiteY184" fmla="*/ 232924 h 497591"/>
              <a:gd name="connsiteX185" fmla="*/ 811801 w 977020"/>
              <a:gd name="connsiteY185" fmla="*/ 267965 h 497591"/>
              <a:gd name="connsiteX186" fmla="*/ 811726 w 977020"/>
              <a:gd name="connsiteY186" fmla="*/ 268040 h 497591"/>
              <a:gd name="connsiteX187" fmla="*/ 776685 w 977020"/>
              <a:gd name="connsiteY187" fmla="*/ 268040 h 497591"/>
              <a:gd name="connsiteX188" fmla="*/ 769877 w 977020"/>
              <a:gd name="connsiteY188" fmla="*/ 243462 h 497591"/>
              <a:gd name="connsiteX189" fmla="*/ 768400 w 977020"/>
              <a:gd name="connsiteY189" fmla="*/ 243462 h 497591"/>
              <a:gd name="connsiteX190" fmla="*/ 746650 w 977020"/>
              <a:gd name="connsiteY190" fmla="*/ 264837 h 497591"/>
              <a:gd name="connsiteX191" fmla="*/ 713186 w 977020"/>
              <a:gd name="connsiteY191" fmla="*/ 272971 h 497591"/>
              <a:gd name="connsiteX192" fmla="*/ 657971 w 977020"/>
              <a:gd name="connsiteY192" fmla="*/ 249519 h 497591"/>
              <a:gd name="connsiteX193" fmla="*/ 638248 w 977020"/>
              <a:gd name="connsiteY193" fmla="*/ 176183 h 497591"/>
              <a:gd name="connsiteX194" fmla="*/ 660199 w 977020"/>
              <a:gd name="connsiteY194" fmla="*/ 100945 h 497591"/>
              <a:gd name="connsiteX195" fmla="*/ 724449 w 977020"/>
              <a:gd name="connsiteY195" fmla="*/ 74213 h 497591"/>
              <a:gd name="connsiteX196" fmla="*/ 743721 w 977020"/>
              <a:gd name="connsiteY196" fmla="*/ 75565 h 497591"/>
              <a:gd name="connsiteX197" fmla="*/ 758864 w 977020"/>
              <a:gd name="connsiteY197" fmla="*/ 79895 h 497591"/>
              <a:gd name="connsiteX198" fmla="*/ 198107 w 977020"/>
              <a:gd name="connsiteY198" fmla="*/ 1 h 497591"/>
              <a:gd name="connsiteX199" fmla="*/ 248416 w 977020"/>
              <a:gd name="connsiteY199" fmla="*/ 7185 h 497591"/>
              <a:gd name="connsiteX200" fmla="*/ 248516 w 977020"/>
              <a:gd name="connsiteY200" fmla="*/ 7185 h 497591"/>
              <a:gd name="connsiteX201" fmla="*/ 239055 w 977020"/>
              <a:gd name="connsiteY201" fmla="*/ 46506 h 497591"/>
              <a:gd name="connsiteX202" fmla="*/ 223737 w 977020"/>
              <a:gd name="connsiteY202" fmla="*/ 42526 h 497591"/>
              <a:gd name="connsiteX203" fmla="*/ 209946 w 977020"/>
              <a:gd name="connsiteY203" fmla="*/ 41575 h 497591"/>
              <a:gd name="connsiteX204" fmla="*/ 198032 w 977020"/>
              <a:gd name="connsiteY204" fmla="*/ 43853 h 497591"/>
              <a:gd name="connsiteX205" fmla="*/ 191600 w 977020"/>
              <a:gd name="connsiteY205" fmla="*/ 50861 h 497591"/>
              <a:gd name="connsiteX206" fmla="*/ 188947 w 977020"/>
              <a:gd name="connsiteY206" fmla="*/ 62575 h 497591"/>
              <a:gd name="connsiteX207" fmla="*/ 188371 w 977020"/>
              <a:gd name="connsiteY207" fmla="*/ 78644 h 497591"/>
              <a:gd name="connsiteX208" fmla="*/ 229970 w 977020"/>
              <a:gd name="connsiteY208" fmla="*/ 78644 h 497591"/>
              <a:gd name="connsiteX209" fmla="*/ 229970 w 977020"/>
              <a:gd name="connsiteY209" fmla="*/ 120217 h 497591"/>
              <a:gd name="connsiteX210" fmla="*/ 188371 w 977020"/>
              <a:gd name="connsiteY210" fmla="*/ 120217 h 497591"/>
              <a:gd name="connsiteX211" fmla="*/ 188371 w 977020"/>
              <a:gd name="connsiteY211" fmla="*/ 243236 h 497591"/>
              <a:gd name="connsiteX212" fmla="*/ 172752 w 977020"/>
              <a:gd name="connsiteY212" fmla="*/ 280104 h 497591"/>
              <a:gd name="connsiteX213" fmla="*/ 147723 w 977020"/>
              <a:gd name="connsiteY213" fmla="*/ 270894 h 497591"/>
              <a:gd name="connsiteX214" fmla="*/ 116712 w 977020"/>
              <a:gd name="connsiteY214" fmla="*/ 267690 h 497591"/>
              <a:gd name="connsiteX215" fmla="*/ 98941 w 977020"/>
              <a:gd name="connsiteY215" fmla="*/ 270193 h 497591"/>
              <a:gd name="connsiteX216" fmla="*/ 88354 w 977020"/>
              <a:gd name="connsiteY216" fmla="*/ 277376 h 497591"/>
              <a:gd name="connsiteX217" fmla="*/ 83348 w 977020"/>
              <a:gd name="connsiteY217" fmla="*/ 289290 h 497591"/>
              <a:gd name="connsiteX218" fmla="*/ 82221 w 977020"/>
              <a:gd name="connsiteY218" fmla="*/ 305534 h 497591"/>
              <a:gd name="connsiteX219" fmla="*/ 188471 w 977020"/>
              <a:gd name="connsiteY219" fmla="*/ 305534 h 497591"/>
              <a:gd name="connsiteX220" fmla="*/ 188471 w 977020"/>
              <a:gd name="connsiteY220" fmla="*/ 494606 h 497591"/>
              <a:gd name="connsiteX221" fmla="*/ 139439 w 977020"/>
              <a:gd name="connsiteY221" fmla="*/ 494606 h 497591"/>
              <a:gd name="connsiteX222" fmla="*/ 139439 w 977020"/>
              <a:gd name="connsiteY222" fmla="*/ 347033 h 497591"/>
              <a:gd name="connsiteX223" fmla="*/ 82347 w 977020"/>
              <a:gd name="connsiteY223" fmla="*/ 347033 h 497591"/>
              <a:gd name="connsiteX224" fmla="*/ 82347 w 977020"/>
              <a:gd name="connsiteY224" fmla="*/ 494506 h 497591"/>
              <a:gd name="connsiteX225" fmla="*/ 33189 w 977020"/>
              <a:gd name="connsiteY225" fmla="*/ 494506 h 497591"/>
              <a:gd name="connsiteX226" fmla="*/ 33189 w 977020"/>
              <a:gd name="connsiteY226" fmla="*/ 347033 h 497591"/>
              <a:gd name="connsiteX227" fmla="*/ 0 w 977020"/>
              <a:gd name="connsiteY227" fmla="*/ 347033 h 497591"/>
              <a:gd name="connsiteX228" fmla="*/ 0 w 977020"/>
              <a:gd name="connsiteY228" fmla="*/ 305484 h 497591"/>
              <a:gd name="connsiteX229" fmla="*/ 33189 w 977020"/>
              <a:gd name="connsiteY229" fmla="*/ 305484 h 497591"/>
              <a:gd name="connsiteX230" fmla="*/ 33189 w 977020"/>
              <a:gd name="connsiteY230" fmla="*/ 294897 h 497591"/>
              <a:gd name="connsiteX231" fmla="*/ 51711 w 977020"/>
              <a:gd name="connsiteY231" fmla="*/ 242535 h 497591"/>
              <a:gd name="connsiteX232" fmla="*/ 105399 w 977020"/>
              <a:gd name="connsiteY232" fmla="*/ 226091 h 497591"/>
              <a:gd name="connsiteX233" fmla="*/ 139238 w 977020"/>
              <a:gd name="connsiteY233" fmla="*/ 228094 h 497591"/>
              <a:gd name="connsiteX234" fmla="*/ 139238 w 977020"/>
              <a:gd name="connsiteY234" fmla="*/ 120217 h 497591"/>
              <a:gd name="connsiteX235" fmla="*/ 113133 w 977020"/>
              <a:gd name="connsiteY235" fmla="*/ 120217 h 497591"/>
              <a:gd name="connsiteX236" fmla="*/ 113133 w 977020"/>
              <a:gd name="connsiteY236" fmla="*/ 78644 h 497591"/>
              <a:gd name="connsiteX237" fmla="*/ 139238 w 977020"/>
              <a:gd name="connsiteY237" fmla="*/ 78644 h 497591"/>
              <a:gd name="connsiteX238" fmla="*/ 139238 w 977020"/>
              <a:gd name="connsiteY238" fmla="*/ 68056 h 497591"/>
              <a:gd name="connsiteX239" fmla="*/ 154256 w 977020"/>
              <a:gd name="connsiteY239" fmla="*/ 16045 h 497591"/>
              <a:gd name="connsiteX240" fmla="*/ 198107 w 977020"/>
              <a:gd name="connsiteY240" fmla="*/ 1 h 4975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Lst>
            <a:rect l="l" t="t" r="r" b="b"/>
            <a:pathLst>
              <a:path w="977020" h="497591">
                <a:moveTo>
                  <a:pt x="514353" y="411433"/>
                </a:moveTo>
                <a:cubicBezTo>
                  <a:pt x="507878" y="411826"/>
                  <a:pt x="501468" y="412970"/>
                  <a:pt x="495255" y="414837"/>
                </a:cubicBezTo>
                <a:cubicBezTo>
                  <a:pt x="490312" y="416247"/>
                  <a:pt x="485782" y="418822"/>
                  <a:pt x="482040" y="422346"/>
                </a:cubicBezTo>
                <a:cubicBezTo>
                  <a:pt x="478706" y="425640"/>
                  <a:pt x="476891" y="430175"/>
                  <a:pt x="477034" y="434861"/>
                </a:cubicBezTo>
                <a:cubicBezTo>
                  <a:pt x="476666" y="440986"/>
                  <a:pt x="478944" y="446975"/>
                  <a:pt x="483291" y="451305"/>
                </a:cubicBezTo>
                <a:cubicBezTo>
                  <a:pt x="488062" y="455457"/>
                  <a:pt x="494274" y="457562"/>
                  <a:pt x="500587" y="457162"/>
                </a:cubicBezTo>
                <a:cubicBezTo>
                  <a:pt x="510423" y="457162"/>
                  <a:pt x="518107" y="454984"/>
                  <a:pt x="524014" y="450554"/>
                </a:cubicBezTo>
                <a:cubicBezTo>
                  <a:pt x="529253" y="446780"/>
                  <a:pt x="533635" y="441944"/>
                  <a:pt x="536879" y="436363"/>
                </a:cubicBezTo>
                <a:lnTo>
                  <a:pt x="536879" y="411809"/>
                </a:lnTo>
                <a:cubicBezTo>
                  <a:pt x="529393" y="411075"/>
                  <a:pt x="521859" y="410948"/>
                  <a:pt x="514353" y="411433"/>
                </a:cubicBezTo>
                <a:close/>
                <a:moveTo>
                  <a:pt x="823064" y="305384"/>
                </a:moveTo>
                <a:lnTo>
                  <a:pt x="971288" y="305384"/>
                </a:lnTo>
                <a:lnTo>
                  <a:pt x="971288" y="347033"/>
                </a:lnTo>
                <a:lnTo>
                  <a:pt x="897552" y="438215"/>
                </a:lnTo>
                <a:lnTo>
                  <a:pt x="878655" y="452957"/>
                </a:lnTo>
                <a:lnTo>
                  <a:pt x="971263" y="452957"/>
                </a:lnTo>
                <a:lnTo>
                  <a:pt x="971263" y="494556"/>
                </a:lnTo>
                <a:lnTo>
                  <a:pt x="823064" y="494556"/>
                </a:lnTo>
                <a:lnTo>
                  <a:pt x="823064" y="452957"/>
                </a:lnTo>
                <a:lnTo>
                  <a:pt x="897552" y="363352"/>
                </a:lnTo>
                <a:lnTo>
                  <a:pt x="916824" y="347083"/>
                </a:lnTo>
                <a:lnTo>
                  <a:pt x="823064" y="347083"/>
                </a:lnTo>
                <a:close/>
                <a:moveTo>
                  <a:pt x="517607" y="301705"/>
                </a:moveTo>
                <a:cubicBezTo>
                  <a:pt x="528757" y="301412"/>
                  <a:pt x="539878" y="303011"/>
                  <a:pt x="550495" y="306435"/>
                </a:cubicBezTo>
                <a:cubicBezTo>
                  <a:pt x="566414" y="311441"/>
                  <a:pt x="578545" y="324426"/>
                  <a:pt x="582457" y="340650"/>
                </a:cubicBezTo>
                <a:cubicBezTo>
                  <a:pt x="584695" y="349551"/>
                  <a:pt x="585781" y="358704"/>
                  <a:pt x="585686" y="367882"/>
                </a:cubicBezTo>
                <a:cubicBezTo>
                  <a:pt x="585686" y="378978"/>
                  <a:pt x="585303" y="390133"/>
                  <a:pt x="584535" y="401346"/>
                </a:cubicBezTo>
                <a:cubicBezTo>
                  <a:pt x="583767" y="412560"/>
                  <a:pt x="583316" y="423590"/>
                  <a:pt x="583183" y="434435"/>
                </a:cubicBezTo>
                <a:cubicBezTo>
                  <a:pt x="583051" y="445265"/>
                  <a:pt x="583359" y="455785"/>
                  <a:pt x="584109" y="465997"/>
                </a:cubicBezTo>
                <a:cubicBezTo>
                  <a:pt x="584805" y="475839"/>
                  <a:pt x="586713" y="485558"/>
                  <a:pt x="589791" y="494931"/>
                </a:cubicBezTo>
                <a:lnTo>
                  <a:pt x="549744" y="494931"/>
                </a:lnTo>
                <a:lnTo>
                  <a:pt x="541785" y="468851"/>
                </a:lnTo>
                <a:lnTo>
                  <a:pt x="539908" y="468851"/>
                </a:lnTo>
                <a:cubicBezTo>
                  <a:pt x="534469" y="477038"/>
                  <a:pt x="527313" y="483938"/>
                  <a:pt x="518933" y="489074"/>
                </a:cubicBezTo>
                <a:cubicBezTo>
                  <a:pt x="509973" y="494748"/>
                  <a:pt x="498434" y="497584"/>
                  <a:pt x="484317" y="497584"/>
                </a:cubicBezTo>
                <a:cubicBezTo>
                  <a:pt x="476201" y="497704"/>
                  <a:pt x="468129" y="496355"/>
                  <a:pt x="460490" y="493605"/>
                </a:cubicBezTo>
                <a:cubicBezTo>
                  <a:pt x="446861" y="488729"/>
                  <a:pt x="435956" y="478279"/>
                  <a:pt x="430505" y="464871"/>
                </a:cubicBezTo>
                <a:cubicBezTo>
                  <a:pt x="427636" y="457712"/>
                  <a:pt x="426225" y="450054"/>
                  <a:pt x="426350" y="442345"/>
                </a:cubicBezTo>
                <a:cubicBezTo>
                  <a:pt x="426007" y="432028"/>
                  <a:pt x="428695" y="421838"/>
                  <a:pt x="434084" y="413035"/>
                </a:cubicBezTo>
                <a:cubicBezTo>
                  <a:pt x="439680" y="404740"/>
                  <a:pt x="447387" y="398090"/>
                  <a:pt x="456410" y="393763"/>
                </a:cubicBezTo>
                <a:cubicBezTo>
                  <a:pt x="467370" y="388479"/>
                  <a:pt x="479124" y="385030"/>
                  <a:pt x="491201" y="383551"/>
                </a:cubicBezTo>
                <a:cubicBezTo>
                  <a:pt x="506176" y="381608"/>
                  <a:pt x="521298" y="381040"/>
                  <a:pt x="536378" y="381849"/>
                </a:cubicBezTo>
                <a:cubicBezTo>
                  <a:pt x="538131" y="367732"/>
                  <a:pt x="537122" y="357588"/>
                  <a:pt x="533350" y="351413"/>
                </a:cubicBezTo>
                <a:lnTo>
                  <a:pt x="533475" y="351438"/>
                </a:lnTo>
                <a:cubicBezTo>
                  <a:pt x="529703" y="345263"/>
                  <a:pt x="521261" y="342177"/>
                  <a:pt x="508145" y="342177"/>
                </a:cubicBezTo>
                <a:cubicBezTo>
                  <a:pt x="497678" y="342235"/>
                  <a:pt x="487241" y="343248"/>
                  <a:pt x="476959" y="345206"/>
                </a:cubicBezTo>
                <a:cubicBezTo>
                  <a:pt x="467645" y="346715"/>
                  <a:pt x="458557" y="349381"/>
                  <a:pt x="449902" y="353140"/>
                </a:cubicBezTo>
                <a:lnTo>
                  <a:pt x="438189" y="316472"/>
                </a:lnTo>
                <a:cubicBezTo>
                  <a:pt x="449699" y="311491"/>
                  <a:pt x="461753" y="307869"/>
                  <a:pt x="474105" y="305684"/>
                </a:cubicBezTo>
                <a:cubicBezTo>
                  <a:pt x="488447" y="302986"/>
                  <a:pt x="503012" y="301655"/>
                  <a:pt x="517607" y="301705"/>
                </a:cubicBezTo>
                <a:close/>
                <a:moveTo>
                  <a:pt x="339448" y="300253"/>
                </a:moveTo>
                <a:cubicBezTo>
                  <a:pt x="347943" y="300121"/>
                  <a:pt x="356400" y="301397"/>
                  <a:pt x="364477" y="304032"/>
                </a:cubicBezTo>
                <a:cubicBezTo>
                  <a:pt x="371666" y="306475"/>
                  <a:pt x="378068" y="310795"/>
                  <a:pt x="383024" y="316547"/>
                </a:cubicBezTo>
                <a:cubicBezTo>
                  <a:pt x="388595" y="323430"/>
                  <a:pt x="392478" y="331522"/>
                  <a:pt x="394362" y="340175"/>
                </a:cubicBezTo>
                <a:cubicBezTo>
                  <a:pt x="397048" y="352282"/>
                  <a:pt x="398257" y="364671"/>
                  <a:pt x="397966" y="377068"/>
                </a:cubicBezTo>
                <a:lnTo>
                  <a:pt x="397966" y="494706"/>
                </a:lnTo>
                <a:lnTo>
                  <a:pt x="348909" y="494706"/>
                </a:lnTo>
                <a:lnTo>
                  <a:pt x="348909" y="387080"/>
                </a:lnTo>
                <a:cubicBezTo>
                  <a:pt x="348909" y="371712"/>
                  <a:pt x="346699" y="360624"/>
                  <a:pt x="342276" y="353816"/>
                </a:cubicBezTo>
                <a:cubicBezTo>
                  <a:pt x="337853" y="347008"/>
                  <a:pt x="330345" y="343604"/>
                  <a:pt x="319750" y="343604"/>
                </a:cubicBezTo>
                <a:cubicBezTo>
                  <a:pt x="311140" y="343361"/>
                  <a:pt x="302735" y="346250"/>
                  <a:pt x="296097" y="351738"/>
                </a:cubicBezTo>
                <a:cubicBezTo>
                  <a:pt x="289737" y="357090"/>
                  <a:pt x="284967" y="364085"/>
                  <a:pt x="282306" y="371962"/>
                </a:cubicBezTo>
                <a:lnTo>
                  <a:pt x="282306" y="494481"/>
                </a:lnTo>
                <a:lnTo>
                  <a:pt x="233198" y="494481"/>
                </a:lnTo>
                <a:lnTo>
                  <a:pt x="233198" y="305484"/>
                </a:lnTo>
                <a:lnTo>
                  <a:pt x="272144" y="305484"/>
                </a:lnTo>
                <a:lnTo>
                  <a:pt x="277826" y="330514"/>
                </a:lnTo>
                <a:lnTo>
                  <a:pt x="279327" y="330514"/>
                </a:lnTo>
                <a:cubicBezTo>
                  <a:pt x="285570" y="322024"/>
                  <a:pt x="293409" y="314830"/>
                  <a:pt x="302404" y="309339"/>
                </a:cubicBezTo>
                <a:cubicBezTo>
                  <a:pt x="311966" y="303282"/>
                  <a:pt x="324313" y="300253"/>
                  <a:pt x="339448" y="300253"/>
                </a:cubicBezTo>
                <a:close/>
                <a:moveTo>
                  <a:pt x="733109" y="300228"/>
                </a:moveTo>
                <a:cubicBezTo>
                  <a:pt x="741604" y="300093"/>
                  <a:pt x="750061" y="301369"/>
                  <a:pt x="758138" y="304007"/>
                </a:cubicBezTo>
                <a:cubicBezTo>
                  <a:pt x="765327" y="306450"/>
                  <a:pt x="771729" y="310770"/>
                  <a:pt x="776685" y="316522"/>
                </a:cubicBezTo>
                <a:cubicBezTo>
                  <a:pt x="782257" y="323405"/>
                  <a:pt x="786139" y="331497"/>
                  <a:pt x="788023" y="340150"/>
                </a:cubicBezTo>
                <a:cubicBezTo>
                  <a:pt x="790739" y="352261"/>
                  <a:pt x="791966" y="364659"/>
                  <a:pt x="791678" y="377068"/>
                </a:cubicBezTo>
                <a:lnTo>
                  <a:pt x="791678" y="494706"/>
                </a:lnTo>
                <a:lnTo>
                  <a:pt x="742520" y="494706"/>
                </a:lnTo>
                <a:lnTo>
                  <a:pt x="742520" y="387080"/>
                </a:lnTo>
                <a:cubicBezTo>
                  <a:pt x="742520" y="371712"/>
                  <a:pt x="740317" y="360624"/>
                  <a:pt x="735912" y="353816"/>
                </a:cubicBezTo>
                <a:cubicBezTo>
                  <a:pt x="731507" y="347008"/>
                  <a:pt x="723998" y="343604"/>
                  <a:pt x="713386" y="343604"/>
                </a:cubicBezTo>
                <a:cubicBezTo>
                  <a:pt x="704783" y="343354"/>
                  <a:pt x="696383" y="346247"/>
                  <a:pt x="689758" y="351738"/>
                </a:cubicBezTo>
                <a:cubicBezTo>
                  <a:pt x="683383" y="357082"/>
                  <a:pt x="678603" y="364081"/>
                  <a:pt x="675942" y="371962"/>
                </a:cubicBezTo>
                <a:lnTo>
                  <a:pt x="675942" y="494481"/>
                </a:lnTo>
                <a:lnTo>
                  <a:pt x="626810" y="494481"/>
                </a:lnTo>
                <a:lnTo>
                  <a:pt x="626734" y="305459"/>
                </a:lnTo>
                <a:lnTo>
                  <a:pt x="665780" y="305459"/>
                </a:lnTo>
                <a:lnTo>
                  <a:pt x="671462" y="330489"/>
                </a:lnTo>
                <a:lnTo>
                  <a:pt x="672989" y="330489"/>
                </a:lnTo>
                <a:cubicBezTo>
                  <a:pt x="679216" y="321991"/>
                  <a:pt x="687048" y="314798"/>
                  <a:pt x="696041" y="309314"/>
                </a:cubicBezTo>
                <a:cubicBezTo>
                  <a:pt x="705602" y="303257"/>
                  <a:pt x="717959" y="300228"/>
                  <a:pt x="733109" y="300228"/>
                </a:cubicBezTo>
                <a:close/>
                <a:moveTo>
                  <a:pt x="730506" y="115762"/>
                </a:moveTo>
                <a:cubicBezTo>
                  <a:pt x="716640" y="115762"/>
                  <a:pt x="706235" y="120425"/>
                  <a:pt x="699295" y="129753"/>
                </a:cubicBezTo>
                <a:cubicBezTo>
                  <a:pt x="692354" y="139082"/>
                  <a:pt x="688890" y="155091"/>
                  <a:pt x="688907" y="177785"/>
                </a:cubicBezTo>
                <a:cubicBezTo>
                  <a:pt x="688907" y="193903"/>
                  <a:pt x="691743" y="206886"/>
                  <a:pt x="697417" y="216730"/>
                </a:cubicBezTo>
                <a:cubicBezTo>
                  <a:pt x="703091" y="226574"/>
                  <a:pt x="712102" y="231490"/>
                  <a:pt x="724449" y="231472"/>
                </a:cubicBezTo>
                <a:cubicBezTo>
                  <a:pt x="734028" y="231472"/>
                  <a:pt x="741586" y="229137"/>
                  <a:pt x="747125" y="224464"/>
                </a:cubicBezTo>
                <a:lnTo>
                  <a:pt x="747125" y="224389"/>
                </a:lnTo>
                <a:cubicBezTo>
                  <a:pt x="753083" y="219061"/>
                  <a:pt x="757192" y="211980"/>
                  <a:pt x="758864" y="204166"/>
                </a:cubicBezTo>
                <a:lnTo>
                  <a:pt x="758864" y="124072"/>
                </a:lnTo>
                <a:cubicBezTo>
                  <a:pt x="755340" y="121333"/>
                  <a:pt x="751368" y="119224"/>
                  <a:pt x="747125" y="117839"/>
                </a:cubicBezTo>
                <a:cubicBezTo>
                  <a:pt x="741722" y="116310"/>
                  <a:pt x="736120" y="115609"/>
                  <a:pt x="730506" y="115762"/>
                </a:cubicBezTo>
                <a:close/>
                <a:moveTo>
                  <a:pt x="327108" y="114986"/>
                </a:moveTo>
                <a:cubicBezTo>
                  <a:pt x="315978" y="114513"/>
                  <a:pt x="305340" y="119619"/>
                  <a:pt x="298750" y="128602"/>
                </a:cubicBezTo>
                <a:cubicBezTo>
                  <a:pt x="291942" y="137680"/>
                  <a:pt x="288538" y="152548"/>
                  <a:pt x="288538" y="173204"/>
                </a:cubicBezTo>
                <a:cubicBezTo>
                  <a:pt x="288476" y="180956"/>
                  <a:pt x="289239" y="188692"/>
                  <a:pt x="290816" y="196281"/>
                </a:cubicBezTo>
                <a:cubicBezTo>
                  <a:pt x="292117" y="202766"/>
                  <a:pt x="294405" y="209011"/>
                  <a:pt x="297599" y="214803"/>
                </a:cubicBezTo>
                <a:cubicBezTo>
                  <a:pt x="300410" y="219884"/>
                  <a:pt x="304522" y="224126"/>
                  <a:pt x="309513" y="227092"/>
                </a:cubicBezTo>
                <a:cubicBezTo>
                  <a:pt x="314854" y="230093"/>
                  <a:pt x="320909" y="231600"/>
                  <a:pt x="327033" y="231447"/>
                </a:cubicBezTo>
                <a:cubicBezTo>
                  <a:pt x="339898" y="231447"/>
                  <a:pt x="349477" y="226784"/>
                  <a:pt x="355767" y="217456"/>
                </a:cubicBezTo>
                <a:lnTo>
                  <a:pt x="355842" y="217456"/>
                </a:lnTo>
                <a:cubicBezTo>
                  <a:pt x="362149" y="208145"/>
                  <a:pt x="365303" y="193396"/>
                  <a:pt x="365303" y="173204"/>
                </a:cubicBezTo>
                <a:cubicBezTo>
                  <a:pt x="365303" y="155834"/>
                  <a:pt x="362400" y="141785"/>
                  <a:pt x="356593" y="131055"/>
                </a:cubicBezTo>
                <a:cubicBezTo>
                  <a:pt x="350786" y="120325"/>
                  <a:pt x="340957" y="114969"/>
                  <a:pt x="327108" y="114986"/>
                </a:cubicBezTo>
                <a:close/>
                <a:moveTo>
                  <a:pt x="906262" y="73413"/>
                </a:moveTo>
                <a:cubicBezTo>
                  <a:pt x="919385" y="73265"/>
                  <a:pt x="932473" y="74797"/>
                  <a:pt x="945207" y="77968"/>
                </a:cubicBezTo>
                <a:cubicBezTo>
                  <a:pt x="954689" y="80168"/>
                  <a:pt x="963842" y="83592"/>
                  <a:pt x="972439" y="88155"/>
                </a:cubicBezTo>
                <a:lnTo>
                  <a:pt x="961477" y="123721"/>
                </a:lnTo>
                <a:cubicBezTo>
                  <a:pt x="955670" y="121436"/>
                  <a:pt x="948361" y="119041"/>
                  <a:pt x="939551" y="116538"/>
                </a:cubicBezTo>
                <a:cubicBezTo>
                  <a:pt x="930821" y="114020"/>
                  <a:pt x="921780" y="112738"/>
                  <a:pt x="912694" y="112734"/>
                </a:cubicBezTo>
                <a:cubicBezTo>
                  <a:pt x="905386" y="112734"/>
                  <a:pt x="899904" y="114152"/>
                  <a:pt x="896250" y="116989"/>
                </a:cubicBezTo>
                <a:lnTo>
                  <a:pt x="890833" y="129603"/>
                </a:lnTo>
                <a:lnTo>
                  <a:pt x="890819" y="129578"/>
                </a:lnTo>
                <a:lnTo>
                  <a:pt x="890769" y="129753"/>
                </a:lnTo>
                <a:lnTo>
                  <a:pt x="890833" y="129603"/>
                </a:lnTo>
                <a:lnTo>
                  <a:pt x="897226" y="140541"/>
                </a:lnTo>
                <a:cubicBezTo>
                  <a:pt x="902237" y="143680"/>
                  <a:pt x="907563" y="146280"/>
                  <a:pt x="913120" y="148300"/>
                </a:cubicBezTo>
                <a:cubicBezTo>
                  <a:pt x="919427" y="150703"/>
                  <a:pt x="926360" y="153288"/>
                  <a:pt x="933919" y="156059"/>
                </a:cubicBezTo>
                <a:cubicBezTo>
                  <a:pt x="941288" y="158735"/>
                  <a:pt x="948279" y="162352"/>
                  <a:pt x="954719" y="166822"/>
                </a:cubicBezTo>
                <a:cubicBezTo>
                  <a:pt x="961161" y="171390"/>
                  <a:pt x="966575" y="177256"/>
                  <a:pt x="970612" y="184042"/>
                </a:cubicBezTo>
                <a:cubicBezTo>
                  <a:pt x="974900" y="191100"/>
                  <a:pt x="977037" y="200168"/>
                  <a:pt x="977020" y="211249"/>
                </a:cubicBezTo>
                <a:cubicBezTo>
                  <a:pt x="977020" y="230421"/>
                  <a:pt x="970913" y="245439"/>
                  <a:pt x="958698" y="256301"/>
                </a:cubicBezTo>
                <a:cubicBezTo>
                  <a:pt x="946484" y="267164"/>
                  <a:pt x="928130" y="272653"/>
                  <a:pt x="903634" y="272771"/>
                </a:cubicBezTo>
                <a:cubicBezTo>
                  <a:pt x="890946" y="272881"/>
                  <a:pt x="878307" y="271197"/>
                  <a:pt x="866090" y="267765"/>
                </a:cubicBezTo>
                <a:cubicBezTo>
                  <a:pt x="856091" y="265084"/>
                  <a:pt x="846494" y="261077"/>
                  <a:pt x="837557" y="255851"/>
                </a:cubicBezTo>
                <a:lnTo>
                  <a:pt x="851122" y="219383"/>
                </a:lnTo>
                <a:cubicBezTo>
                  <a:pt x="858486" y="223316"/>
                  <a:pt x="866202" y="226542"/>
                  <a:pt x="874174" y="229020"/>
                </a:cubicBezTo>
                <a:cubicBezTo>
                  <a:pt x="883696" y="232156"/>
                  <a:pt x="893659" y="233743"/>
                  <a:pt x="903684" y="233725"/>
                </a:cubicBezTo>
                <a:cubicBezTo>
                  <a:pt x="909798" y="234016"/>
                  <a:pt x="915871" y="232576"/>
                  <a:pt x="921204" y="229570"/>
                </a:cubicBezTo>
                <a:cubicBezTo>
                  <a:pt x="925609" y="226817"/>
                  <a:pt x="927837" y="222061"/>
                  <a:pt x="927837" y="215604"/>
                </a:cubicBezTo>
                <a:cubicBezTo>
                  <a:pt x="927925" y="210726"/>
                  <a:pt x="925494" y="206148"/>
                  <a:pt x="921405" y="203490"/>
                </a:cubicBezTo>
                <a:cubicBezTo>
                  <a:pt x="916446" y="200116"/>
                  <a:pt x="911113" y="197327"/>
                  <a:pt x="905511" y="195180"/>
                </a:cubicBezTo>
                <a:cubicBezTo>
                  <a:pt x="899203" y="192660"/>
                  <a:pt x="892271" y="190074"/>
                  <a:pt x="884711" y="187421"/>
                </a:cubicBezTo>
                <a:cubicBezTo>
                  <a:pt x="877271" y="184845"/>
                  <a:pt x="870265" y="181149"/>
                  <a:pt x="863937" y="176458"/>
                </a:cubicBezTo>
                <a:cubicBezTo>
                  <a:pt x="857495" y="171667"/>
                  <a:pt x="852088" y="165623"/>
                  <a:pt x="848044" y="158687"/>
                </a:cubicBezTo>
                <a:cubicBezTo>
                  <a:pt x="843739" y="151496"/>
                  <a:pt x="841593" y="142226"/>
                  <a:pt x="841611" y="130880"/>
                </a:cubicBezTo>
                <a:cubicBezTo>
                  <a:pt x="841611" y="112240"/>
                  <a:pt x="847160" y="97999"/>
                  <a:pt x="858256" y="88155"/>
                </a:cubicBezTo>
                <a:cubicBezTo>
                  <a:pt x="869351" y="78311"/>
                  <a:pt x="885355" y="73395"/>
                  <a:pt x="906262" y="73413"/>
                </a:cubicBezTo>
                <a:close/>
                <a:moveTo>
                  <a:pt x="548993" y="73413"/>
                </a:moveTo>
                <a:cubicBezTo>
                  <a:pt x="557488" y="73285"/>
                  <a:pt x="565946" y="74561"/>
                  <a:pt x="574023" y="77192"/>
                </a:cubicBezTo>
                <a:cubicBezTo>
                  <a:pt x="581199" y="79645"/>
                  <a:pt x="587591" y="83965"/>
                  <a:pt x="592544" y="89706"/>
                </a:cubicBezTo>
                <a:cubicBezTo>
                  <a:pt x="598111" y="96592"/>
                  <a:pt x="601993" y="104684"/>
                  <a:pt x="603883" y="113334"/>
                </a:cubicBezTo>
                <a:cubicBezTo>
                  <a:pt x="606623" y="125426"/>
                  <a:pt x="607892" y="137805"/>
                  <a:pt x="607662" y="150202"/>
                </a:cubicBezTo>
                <a:lnTo>
                  <a:pt x="607537" y="267665"/>
                </a:lnTo>
                <a:lnTo>
                  <a:pt x="558454" y="267665"/>
                </a:lnTo>
                <a:lnTo>
                  <a:pt x="558454" y="160314"/>
                </a:lnTo>
                <a:cubicBezTo>
                  <a:pt x="558454" y="144946"/>
                  <a:pt x="556252" y="133851"/>
                  <a:pt x="551847" y="127025"/>
                </a:cubicBezTo>
                <a:cubicBezTo>
                  <a:pt x="547442" y="120200"/>
                  <a:pt x="539933" y="116806"/>
                  <a:pt x="529320" y="116838"/>
                </a:cubicBezTo>
                <a:cubicBezTo>
                  <a:pt x="520723" y="116585"/>
                  <a:pt x="512325" y="119469"/>
                  <a:pt x="505693" y="124948"/>
                </a:cubicBezTo>
                <a:cubicBezTo>
                  <a:pt x="499318" y="130291"/>
                  <a:pt x="494537" y="137290"/>
                  <a:pt x="491876" y="145171"/>
                </a:cubicBezTo>
                <a:lnTo>
                  <a:pt x="491876" y="267690"/>
                </a:lnTo>
                <a:lnTo>
                  <a:pt x="442744" y="267690"/>
                </a:lnTo>
                <a:lnTo>
                  <a:pt x="442744" y="78644"/>
                </a:lnTo>
                <a:lnTo>
                  <a:pt x="481689" y="78644"/>
                </a:lnTo>
                <a:lnTo>
                  <a:pt x="487371" y="103673"/>
                </a:lnTo>
                <a:lnTo>
                  <a:pt x="488873" y="103673"/>
                </a:lnTo>
                <a:cubicBezTo>
                  <a:pt x="495123" y="95188"/>
                  <a:pt x="502959" y="87997"/>
                  <a:pt x="511950" y="82498"/>
                </a:cubicBezTo>
                <a:cubicBezTo>
                  <a:pt x="521529" y="76441"/>
                  <a:pt x="533876" y="73413"/>
                  <a:pt x="548993" y="73413"/>
                </a:cubicBezTo>
                <a:close/>
                <a:moveTo>
                  <a:pt x="327008" y="73337"/>
                </a:moveTo>
                <a:cubicBezTo>
                  <a:pt x="340467" y="73027"/>
                  <a:pt x="353850" y="75472"/>
                  <a:pt x="366329" y="80521"/>
                </a:cubicBezTo>
                <a:cubicBezTo>
                  <a:pt x="376964" y="85021"/>
                  <a:pt x="386395" y="91957"/>
                  <a:pt x="393862" y="100769"/>
                </a:cubicBezTo>
                <a:cubicBezTo>
                  <a:pt x="401535" y="110020"/>
                  <a:pt x="407195" y="120770"/>
                  <a:pt x="410481" y="132331"/>
                </a:cubicBezTo>
                <a:cubicBezTo>
                  <a:pt x="414261" y="145604"/>
                  <a:pt x="416108" y="159353"/>
                  <a:pt x="415963" y="173154"/>
                </a:cubicBezTo>
                <a:lnTo>
                  <a:pt x="415812" y="173154"/>
                </a:lnTo>
                <a:cubicBezTo>
                  <a:pt x="415812" y="205192"/>
                  <a:pt x="408061" y="229838"/>
                  <a:pt x="392560" y="247091"/>
                </a:cubicBezTo>
                <a:cubicBezTo>
                  <a:pt x="377059" y="264343"/>
                  <a:pt x="355191" y="272978"/>
                  <a:pt x="326958" y="272996"/>
                </a:cubicBezTo>
                <a:cubicBezTo>
                  <a:pt x="313565" y="273279"/>
                  <a:pt x="300257" y="270834"/>
                  <a:pt x="287837" y="265813"/>
                </a:cubicBezTo>
                <a:cubicBezTo>
                  <a:pt x="277137" y="261300"/>
                  <a:pt x="267621" y="254379"/>
                  <a:pt x="260030" y="245589"/>
                </a:cubicBezTo>
                <a:cubicBezTo>
                  <a:pt x="252308" y="236361"/>
                  <a:pt x="246642" y="225593"/>
                  <a:pt x="243410" y="214002"/>
                </a:cubicBezTo>
                <a:cubicBezTo>
                  <a:pt x="239576" y="200729"/>
                  <a:pt x="237679" y="186970"/>
                  <a:pt x="237779" y="173154"/>
                </a:cubicBezTo>
                <a:cubicBezTo>
                  <a:pt x="237779" y="141167"/>
                  <a:pt x="245588" y="116530"/>
                  <a:pt x="261206" y="99243"/>
                </a:cubicBezTo>
                <a:cubicBezTo>
                  <a:pt x="276825" y="81955"/>
                  <a:pt x="298758" y="73320"/>
                  <a:pt x="327008" y="73337"/>
                </a:cubicBezTo>
                <a:close/>
                <a:moveTo>
                  <a:pt x="758864" y="3005"/>
                </a:moveTo>
                <a:lnTo>
                  <a:pt x="808022" y="3005"/>
                </a:lnTo>
                <a:lnTo>
                  <a:pt x="808022" y="201137"/>
                </a:lnTo>
                <a:cubicBezTo>
                  <a:pt x="808022" y="211750"/>
                  <a:pt x="808022" y="222312"/>
                  <a:pt x="808397" y="232924"/>
                </a:cubicBezTo>
                <a:cubicBezTo>
                  <a:pt x="808763" y="244666"/>
                  <a:pt x="809899" y="256372"/>
                  <a:pt x="811801" y="267965"/>
                </a:cubicBezTo>
                <a:lnTo>
                  <a:pt x="811726" y="268040"/>
                </a:lnTo>
                <a:lnTo>
                  <a:pt x="776685" y="268040"/>
                </a:lnTo>
                <a:lnTo>
                  <a:pt x="769877" y="243462"/>
                </a:lnTo>
                <a:lnTo>
                  <a:pt x="768400" y="243462"/>
                </a:lnTo>
                <a:cubicBezTo>
                  <a:pt x="763224" y="252429"/>
                  <a:pt x="755705" y="259818"/>
                  <a:pt x="746650" y="264837"/>
                </a:cubicBezTo>
                <a:cubicBezTo>
                  <a:pt x="736405" y="270446"/>
                  <a:pt x="724862" y="273252"/>
                  <a:pt x="713186" y="272971"/>
                </a:cubicBezTo>
                <a:cubicBezTo>
                  <a:pt x="689475" y="272971"/>
                  <a:pt x="671069" y="265154"/>
                  <a:pt x="657971" y="249519"/>
                </a:cubicBezTo>
                <a:cubicBezTo>
                  <a:pt x="644873" y="233883"/>
                  <a:pt x="638298" y="209439"/>
                  <a:pt x="638248" y="176183"/>
                </a:cubicBezTo>
                <a:cubicBezTo>
                  <a:pt x="638248" y="143927"/>
                  <a:pt x="645564" y="118848"/>
                  <a:pt x="660199" y="100945"/>
                </a:cubicBezTo>
                <a:cubicBezTo>
                  <a:pt x="674833" y="83041"/>
                  <a:pt x="696248" y="74131"/>
                  <a:pt x="724449" y="74213"/>
                </a:cubicBezTo>
                <a:cubicBezTo>
                  <a:pt x="730899" y="74111"/>
                  <a:pt x="737349" y="74564"/>
                  <a:pt x="743721" y="75565"/>
                </a:cubicBezTo>
                <a:cubicBezTo>
                  <a:pt x="748907" y="76471"/>
                  <a:pt x="753983" y="77923"/>
                  <a:pt x="758864" y="79895"/>
                </a:cubicBezTo>
                <a:close/>
                <a:moveTo>
                  <a:pt x="198107" y="1"/>
                </a:moveTo>
                <a:cubicBezTo>
                  <a:pt x="218281" y="1"/>
                  <a:pt x="235051" y="2397"/>
                  <a:pt x="248416" y="7185"/>
                </a:cubicBezTo>
                <a:lnTo>
                  <a:pt x="248516" y="7185"/>
                </a:lnTo>
                <a:lnTo>
                  <a:pt x="239055" y="46506"/>
                </a:lnTo>
                <a:cubicBezTo>
                  <a:pt x="234087" y="44694"/>
                  <a:pt x="228958" y="43360"/>
                  <a:pt x="223737" y="42526"/>
                </a:cubicBezTo>
                <a:cubicBezTo>
                  <a:pt x="219169" y="41886"/>
                  <a:pt x="214559" y="41568"/>
                  <a:pt x="209946" y="41575"/>
                </a:cubicBezTo>
                <a:cubicBezTo>
                  <a:pt x="205851" y="41387"/>
                  <a:pt x="201769" y="42166"/>
                  <a:pt x="198032" y="43853"/>
                </a:cubicBezTo>
                <a:cubicBezTo>
                  <a:pt x="195134" y="45365"/>
                  <a:pt x="192859" y="47845"/>
                  <a:pt x="191600" y="50861"/>
                </a:cubicBezTo>
                <a:cubicBezTo>
                  <a:pt x="190063" y="54588"/>
                  <a:pt x="189164" y="58548"/>
                  <a:pt x="188947" y="62575"/>
                </a:cubicBezTo>
                <a:cubicBezTo>
                  <a:pt x="188564" y="67230"/>
                  <a:pt x="188371" y="72586"/>
                  <a:pt x="188371" y="78644"/>
                </a:cubicBezTo>
                <a:lnTo>
                  <a:pt x="229970" y="78644"/>
                </a:lnTo>
                <a:lnTo>
                  <a:pt x="229970" y="120217"/>
                </a:lnTo>
                <a:lnTo>
                  <a:pt x="188371" y="120217"/>
                </a:lnTo>
                <a:lnTo>
                  <a:pt x="188371" y="243236"/>
                </a:lnTo>
                <a:cubicBezTo>
                  <a:pt x="188371" y="264661"/>
                  <a:pt x="172752" y="280104"/>
                  <a:pt x="172752" y="280104"/>
                </a:cubicBezTo>
                <a:cubicBezTo>
                  <a:pt x="164833" y="275985"/>
                  <a:pt x="156423" y="272889"/>
                  <a:pt x="147723" y="270894"/>
                </a:cubicBezTo>
                <a:cubicBezTo>
                  <a:pt x="137539" y="268671"/>
                  <a:pt x="127137" y="267597"/>
                  <a:pt x="116712" y="267690"/>
                </a:cubicBezTo>
                <a:cubicBezTo>
                  <a:pt x="110690" y="267522"/>
                  <a:pt x="104683" y="268368"/>
                  <a:pt x="98941" y="270193"/>
                </a:cubicBezTo>
                <a:cubicBezTo>
                  <a:pt x="94814" y="271559"/>
                  <a:pt x="91150" y="274047"/>
                  <a:pt x="88354" y="277376"/>
                </a:cubicBezTo>
                <a:cubicBezTo>
                  <a:pt x="85670" y="280840"/>
                  <a:pt x="83946" y="284950"/>
                  <a:pt x="83348" y="289290"/>
                </a:cubicBezTo>
                <a:cubicBezTo>
                  <a:pt x="82554" y="294669"/>
                  <a:pt x="82179" y="300098"/>
                  <a:pt x="82221" y="305534"/>
                </a:cubicBezTo>
                <a:lnTo>
                  <a:pt x="188471" y="305534"/>
                </a:lnTo>
                <a:lnTo>
                  <a:pt x="188471" y="494606"/>
                </a:lnTo>
                <a:lnTo>
                  <a:pt x="139439" y="494606"/>
                </a:lnTo>
                <a:lnTo>
                  <a:pt x="139439" y="347033"/>
                </a:lnTo>
                <a:lnTo>
                  <a:pt x="82347" y="347033"/>
                </a:lnTo>
                <a:lnTo>
                  <a:pt x="82347" y="494506"/>
                </a:lnTo>
                <a:lnTo>
                  <a:pt x="33189" y="494506"/>
                </a:lnTo>
                <a:lnTo>
                  <a:pt x="33189" y="347033"/>
                </a:lnTo>
                <a:lnTo>
                  <a:pt x="0" y="347033"/>
                </a:lnTo>
                <a:lnTo>
                  <a:pt x="0" y="305484"/>
                </a:lnTo>
                <a:lnTo>
                  <a:pt x="33189" y="305484"/>
                </a:lnTo>
                <a:lnTo>
                  <a:pt x="33189" y="294897"/>
                </a:lnTo>
                <a:cubicBezTo>
                  <a:pt x="33189" y="270969"/>
                  <a:pt x="39364" y="253516"/>
                  <a:pt x="51711" y="242535"/>
                </a:cubicBezTo>
                <a:cubicBezTo>
                  <a:pt x="64058" y="231555"/>
                  <a:pt x="81954" y="226074"/>
                  <a:pt x="105399" y="226091"/>
                </a:cubicBezTo>
                <a:cubicBezTo>
                  <a:pt x="116709" y="226051"/>
                  <a:pt x="128010" y="226719"/>
                  <a:pt x="139238" y="228094"/>
                </a:cubicBezTo>
                <a:lnTo>
                  <a:pt x="139238" y="120217"/>
                </a:lnTo>
                <a:lnTo>
                  <a:pt x="113133" y="120217"/>
                </a:lnTo>
                <a:lnTo>
                  <a:pt x="113133" y="78644"/>
                </a:lnTo>
                <a:lnTo>
                  <a:pt x="139238" y="78644"/>
                </a:lnTo>
                <a:lnTo>
                  <a:pt x="139238" y="68056"/>
                </a:lnTo>
                <a:cubicBezTo>
                  <a:pt x="139238" y="44110"/>
                  <a:pt x="144244" y="26775"/>
                  <a:pt x="154256" y="16045"/>
                </a:cubicBezTo>
                <a:cubicBezTo>
                  <a:pt x="164268" y="5315"/>
                  <a:pt x="178885" y="-31"/>
                  <a:pt x="198107" y="1"/>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80000" tIns="144000" rIns="180000" bIns="144000" rtlCol="0" anchor="t">
            <a:noAutofit/>
          </a:bodyPr>
          <a:lstStyle/>
          <a:p>
            <a:pPr algn="l"/>
            <a:endParaRPr lang="de-DE" sz="1600" dirty="0" err="1">
              <a:solidFill>
                <a:schemeClr val="bg1"/>
              </a:solidFill>
            </a:endParaRPr>
          </a:p>
        </p:txBody>
      </p:sp>
    </p:spTree>
    <p:extLst>
      <p:ext uri="{BB962C8B-B14F-4D97-AF65-F5344CB8AC3E}">
        <p14:creationId xmlns:p14="http://schemas.microsoft.com/office/powerpoint/2010/main" val="3341247470"/>
      </p:ext>
    </p:extLst>
  </p:cSld>
  <p:clrMapOvr>
    <a:masterClrMapping/>
  </p:clrMapOvr>
  <p:extLst>
    <p:ext uri="{DCECCB84-F9BA-43D5-87BE-67443E8EF086}">
      <p15:sldGuideLst xmlns:p15="http://schemas.microsoft.com/office/powerpoint/2012/main">
        <p15:guide id="1" pos="3704" userDrawn="1">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Fragen und Ansprechpartner Logo weiß">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01E98D16-7064-413E-90AB-794918023785}"/>
              </a:ext>
            </a:extLst>
          </p:cNvPr>
          <p:cNvGraphicFramePr>
            <a:graphicFrameLocks noChangeAspect="1"/>
          </p:cNvGraphicFramePr>
          <p:nvPr userDrawn="1">
            <p:custDataLst>
              <p:tags r:id="rId1"/>
            </p:custDataLst>
            <p:extLst>
              <p:ext uri="{D42A27DB-BD31-4B8C-83A1-F6EECF244321}">
                <p14:modId xmlns:p14="http://schemas.microsoft.com/office/powerpoint/2010/main" val="18542906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5" name="Objekt 4" hidden="1">
                        <a:extLst>
                          <a:ext uri="{FF2B5EF4-FFF2-40B4-BE49-F238E27FC236}">
                            <a16:creationId xmlns:a16="http://schemas.microsoft.com/office/drawing/2014/main" id="{01E98D16-7064-413E-90AB-79491802378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Rechteck 15">
            <a:extLst>
              <a:ext uri="{FF2B5EF4-FFF2-40B4-BE49-F238E27FC236}">
                <a16:creationId xmlns:a16="http://schemas.microsoft.com/office/drawing/2014/main" id="{0C2A6393-2D0C-48A5-949A-F8459F9CCB0F}"/>
              </a:ext>
            </a:extLst>
          </p:cNvPr>
          <p:cNvSpPr>
            <a:spLocks/>
          </p:cNvSpPr>
          <p:nvPr userDrawn="1"/>
        </p:nvSpPr>
        <p:spPr bwMode="gray">
          <a:xfrm>
            <a:off x="200439" y="2558374"/>
            <a:ext cx="7153671" cy="4087923"/>
          </a:xfrm>
          <a:prstGeom prst="rect">
            <a:avLst/>
          </a:prstGeom>
          <a:solidFill>
            <a:srgbClr val="2F4D72"/>
          </a:solidFill>
          <a:ln w="9525" cap="flat">
            <a:noFill/>
            <a:prstDash val="solid"/>
            <a:miter/>
          </a:ln>
        </p:spPr>
        <p:txBody>
          <a:bodyPr wrap="square" rtlCol="0" anchor="ctr">
            <a:noAutofit/>
          </a:bodyPr>
          <a:lstStyle/>
          <a:p>
            <a:pPr rtl="0"/>
            <a:endParaRPr lang="de-DE" noProof="0" dirty="0">
              <a:solidFill>
                <a:schemeClr val="bg1"/>
              </a:solidFill>
            </a:endParaRPr>
          </a:p>
        </p:txBody>
      </p:sp>
      <p:sp>
        <p:nvSpPr>
          <p:cNvPr id="12" name="Bildplatzhalter 11">
            <a:extLst>
              <a:ext uri="{FF2B5EF4-FFF2-40B4-BE49-F238E27FC236}">
                <a16:creationId xmlns:a16="http://schemas.microsoft.com/office/drawing/2014/main" id="{58F47DBE-6B1E-4273-AFF2-5A76F3D999D0}"/>
              </a:ext>
            </a:extLst>
          </p:cNvPr>
          <p:cNvSpPr>
            <a:spLocks noGrp="1"/>
          </p:cNvSpPr>
          <p:nvPr>
            <p:ph type="pic" sz="quarter" idx="14" hasCustomPrompt="1"/>
          </p:nvPr>
        </p:nvSpPr>
        <p:spPr bwMode="gray">
          <a:xfrm>
            <a:off x="200438" y="211702"/>
            <a:ext cx="11791121" cy="6434593"/>
          </a:xfrm>
          <a:custGeom>
            <a:avLst/>
            <a:gdLst>
              <a:gd name="connsiteX0" fmla="*/ 11431877 w 11791121"/>
              <a:gd name="connsiteY0" fmla="*/ 251034 h 6434593"/>
              <a:gd name="connsiteX1" fmla="*/ 10467022 w 11791121"/>
              <a:gd name="connsiteY1" fmla="*/ 411772 h 6434593"/>
              <a:gd name="connsiteX2" fmla="*/ 10298349 w 11791121"/>
              <a:gd name="connsiteY2" fmla="*/ 551410 h 6434593"/>
              <a:gd name="connsiteX3" fmla="*/ 10102195 w 11791121"/>
              <a:gd name="connsiteY3" fmla="*/ 1068040 h 6434593"/>
              <a:gd name="connsiteX4" fmla="*/ 10166670 w 11791121"/>
              <a:gd name="connsiteY4" fmla="*/ 1157996 h 6434593"/>
              <a:gd name="connsiteX5" fmla="*/ 11186765 w 11791121"/>
              <a:gd name="connsiteY5" fmla="*/ 1120777 h 6434593"/>
              <a:gd name="connsiteX6" fmla="*/ 11337442 w 11791121"/>
              <a:gd name="connsiteY6" fmla="*/ 1003465 h 6434593"/>
              <a:gd name="connsiteX7" fmla="*/ 11510845 w 11791121"/>
              <a:gd name="connsiteY7" fmla="*/ 340664 h 6434593"/>
              <a:gd name="connsiteX8" fmla="*/ 11431827 w 11791121"/>
              <a:gd name="connsiteY8" fmla="*/ 251109 h 6434593"/>
              <a:gd name="connsiteX9" fmla="*/ 0 w 11791121"/>
              <a:gd name="connsiteY9" fmla="*/ 0 h 6434593"/>
              <a:gd name="connsiteX10" fmla="*/ 11791121 w 11791121"/>
              <a:gd name="connsiteY10" fmla="*/ 0 h 6434593"/>
              <a:gd name="connsiteX11" fmla="*/ 11791121 w 11791121"/>
              <a:gd name="connsiteY11" fmla="*/ 6434593 h 6434593"/>
              <a:gd name="connsiteX12" fmla="*/ 7701171 w 11791121"/>
              <a:gd name="connsiteY12" fmla="*/ 6434593 h 6434593"/>
              <a:gd name="connsiteX13" fmla="*/ 6146929 w 11791121"/>
              <a:gd name="connsiteY13" fmla="*/ 6434593 h 6434593"/>
              <a:gd name="connsiteX14" fmla="*/ 5530091 w 11791121"/>
              <a:gd name="connsiteY14" fmla="*/ 6434593 h 6434593"/>
              <a:gd name="connsiteX15" fmla="*/ 5547474 w 11791121"/>
              <a:gd name="connsiteY15" fmla="*/ 6368220 h 6434593"/>
              <a:gd name="connsiteX16" fmla="*/ 6335981 w 11791121"/>
              <a:gd name="connsiteY16" fmla="*/ 3354612 h 6434593"/>
              <a:gd name="connsiteX17" fmla="*/ 6004041 w 11791121"/>
              <a:gd name="connsiteY17" fmla="*/ 2829103 h 6434593"/>
              <a:gd name="connsiteX18" fmla="*/ 5878759 w 11791121"/>
              <a:gd name="connsiteY18" fmla="*/ 2838065 h 6434593"/>
              <a:gd name="connsiteX19" fmla="*/ 300908 w 11791121"/>
              <a:gd name="connsiteY19" fmla="*/ 3766983 h 6434593"/>
              <a:gd name="connsiteX20" fmla="*/ 138770 w 11791121"/>
              <a:gd name="connsiteY20" fmla="*/ 3817936 h 6434593"/>
              <a:gd name="connsiteX21" fmla="*/ 2 w 11791121"/>
              <a:gd name="connsiteY21" fmla="*/ 3876402 h 6434593"/>
              <a:gd name="connsiteX22" fmla="*/ 2 w 11791121"/>
              <a:gd name="connsiteY22" fmla="*/ 6434593 h 6434593"/>
              <a:gd name="connsiteX23" fmla="*/ 0 w 11791121"/>
              <a:gd name="connsiteY23" fmla="*/ 6434593 h 6434593"/>
              <a:gd name="connsiteX24" fmla="*/ 0 w 11791121"/>
              <a:gd name="connsiteY24" fmla="*/ 2346670 h 64345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1791121" h="6434593">
                <a:moveTo>
                  <a:pt x="11431877" y="251034"/>
                </a:moveTo>
                <a:cubicBezTo>
                  <a:pt x="11369530" y="260720"/>
                  <a:pt x="10531773" y="394351"/>
                  <a:pt x="10467022" y="411772"/>
                </a:cubicBezTo>
                <a:cubicBezTo>
                  <a:pt x="10388855" y="432746"/>
                  <a:pt x="10337771" y="472843"/>
                  <a:pt x="10298349" y="551410"/>
                </a:cubicBezTo>
                <a:cubicBezTo>
                  <a:pt x="10258928" y="629977"/>
                  <a:pt x="10121092" y="1016480"/>
                  <a:pt x="10102195" y="1068040"/>
                </a:cubicBezTo>
                <a:cubicBezTo>
                  <a:pt x="10083298" y="1119601"/>
                  <a:pt x="10108827" y="1160298"/>
                  <a:pt x="10166670" y="1157996"/>
                </a:cubicBezTo>
                <a:cubicBezTo>
                  <a:pt x="10222135" y="1155718"/>
                  <a:pt x="11186765" y="1120777"/>
                  <a:pt x="11186765" y="1120777"/>
                </a:cubicBezTo>
                <a:cubicBezTo>
                  <a:pt x="11277722" y="1116697"/>
                  <a:pt x="11321924" y="1062884"/>
                  <a:pt x="11337442" y="1003465"/>
                </a:cubicBezTo>
                <a:cubicBezTo>
                  <a:pt x="11337442" y="1003465"/>
                  <a:pt x="11495127" y="401535"/>
                  <a:pt x="11510845" y="340664"/>
                </a:cubicBezTo>
                <a:cubicBezTo>
                  <a:pt x="11527189" y="277740"/>
                  <a:pt x="11493099" y="241597"/>
                  <a:pt x="11431827" y="251109"/>
                </a:cubicBezTo>
                <a:close/>
                <a:moveTo>
                  <a:pt x="0" y="0"/>
                </a:moveTo>
                <a:lnTo>
                  <a:pt x="11791121" y="0"/>
                </a:lnTo>
                <a:lnTo>
                  <a:pt x="11791121" y="6434593"/>
                </a:lnTo>
                <a:lnTo>
                  <a:pt x="7701171" y="6434593"/>
                </a:lnTo>
                <a:lnTo>
                  <a:pt x="6146929" y="6434593"/>
                </a:lnTo>
                <a:lnTo>
                  <a:pt x="5530091" y="6434593"/>
                </a:lnTo>
                <a:lnTo>
                  <a:pt x="5547474" y="6368220"/>
                </a:lnTo>
                <a:cubicBezTo>
                  <a:pt x="5822877" y="5316638"/>
                  <a:pt x="6273312" y="3596337"/>
                  <a:pt x="6335981" y="3354612"/>
                </a:cubicBezTo>
                <a:cubicBezTo>
                  <a:pt x="6418276" y="3035567"/>
                  <a:pt x="6277902" y="2836165"/>
                  <a:pt x="6004041" y="2829103"/>
                </a:cubicBezTo>
                <a:cubicBezTo>
                  <a:pt x="5964917" y="2828094"/>
                  <a:pt x="5923070" y="2831011"/>
                  <a:pt x="5878759" y="2838065"/>
                </a:cubicBezTo>
                <a:cubicBezTo>
                  <a:pt x="5518477" y="2893047"/>
                  <a:pt x="675658" y="3665699"/>
                  <a:pt x="300908" y="3766983"/>
                </a:cubicBezTo>
                <a:cubicBezTo>
                  <a:pt x="244479" y="3782175"/>
                  <a:pt x="190491" y="3799086"/>
                  <a:pt x="138770" y="3817936"/>
                </a:cubicBezTo>
                <a:lnTo>
                  <a:pt x="2" y="3876402"/>
                </a:lnTo>
                <a:lnTo>
                  <a:pt x="2" y="6434593"/>
                </a:lnTo>
                <a:lnTo>
                  <a:pt x="0" y="6434593"/>
                </a:lnTo>
                <a:lnTo>
                  <a:pt x="0" y="2346670"/>
                </a:lnTo>
                <a:close/>
              </a:path>
            </a:pathLst>
          </a:custGeom>
          <a:solidFill>
            <a:schemeClr val="bg2"/>
          </a:solidFill>
        </p:spPr>
        <p:txBody>
          <a:bodyPr wrap="square" lIns="108014" tIns="36005">
            <a:noAutofit/>
          </a:bodyPr>
          <a:lstStyle>
            <a:lvl1pPr>
              <a:spcAft>
                <a:spcPts val="0"/>
              </a:spcAft>
              <a:defRPr sz="1600" b="0">
                <a:sym typeface="Wingdings" panose="05000000000000000000" pitchFamily="2" charset="2"/>
              </a:defRPr>
            </a:lvl1pPr>
          </a:lstStyle>
          <a:p>
            <a:r>
              <a:rPr lang="de-DE" noProof="0" dirty="0"/>
              <a:t>Hier geht’s zur Bilder-Bibliothek:  Schnellzugriff  </a:t>
            </a:r>
            <a:r>
              <a:rPr lang="de-DE" noProof="0" dirty="0" err="1"/>
              <a:t>PPT_Bilder_Vorlagen</a:t>
            </a:r>
            <a:endParaRPr lang="de-DE" noProof="0" dirty="0"/>
          </a:p>
        </p:txBody>
      </p:sp>
      <p:sp>
        <p:nvSpPr>
          <p:cNvPr id="2" name="Titel 1">
            <a:extLst>
              <a:ext uri="{FF2B5EF4-FFF2-40B4-BE49-F238E27FC236}">
                <a16:creationId xmlns:a16="http://schemas.microsoft.com/office/drawing/2014/main" id="{5E46ADA1-AF22-413A-A734-CCC1D9AD7797}"/>
              </a:ext>
            </a:extLst>
          </p:cNvPr>
          <p:cNvSpPr>
            <a:spLocks noGrp="1"/>
          </p:cNvSpPr>
          <p:nvPr>
            <p:ph type="ctrTitle" hasCustomPrompt="1"/>
          </p:nvPr>
        </p:nvSpPr>
        <p:spPr bwMode="gray">
          <a:xfrm>
            <a:off x="1042286" y="4212807"/>
            <a:ext cx="4837817" cy="450573"/>
          </a:xfrm>
        </p:spPr>
        <p:txBody>
          <a:bodyPr vert="horz" anchor="t">
            <a:noAutofit/>
          </a:bodyPr>
          <a:lstStyle>
            <a:lvl1pPr algn="l" rtl="0">
              <a:lnSpc>
                <a:spcPct val="80000"/>
              </a:lnSpc>
              <a:spcBef>
                <a:spcPts val="0"/>
              </a:spcBef>
              <a:spcAft>
                <a:spcPts val="0"/>
              </a:spcAft>
              <a:defRPr sz="3600" b="1">
                <a:solidFill>
                  <a:schemeClr val="accent1"/>
                </a:solidFill>
              </a:defRPr>
            </a:lvl1pPr>
          </a:lstStyle>
          <a:p>
            <a:r>
              <a:rPr lang="de-DE" noProof="0" dirty="0"/>
              <a:t>Haben Sie noch Fragen?</a:t>
            </a:r>
          </a:p>
        </p:txBody>
      </p:sp>
      <p:sp>
        <p:nvSpPr>
          <p:cNvPr id="3" name="Untertitel 2">
            <a:extLst>
              <a:ext uri="{FF2B5EF4-FFF2-40B4-BE49-F238E27FC236}">
                <a16:creationId xmlns:a16="http://schemas.microsoft.com/office/drawing/2014/main" id="{258D0788-6273-4724-9B62-0B33B18BC6BD}"/>
              </a:ext>
            </a:extLst>
          </p:cNvPr>
          <p:cNvSpPr>
            <a:spLocks noGrp="1"/>
          </p:cNvSpPr>
          <p:nvPr>
            <p:ph type="subTitle" idx="1" hasCustomPrompt="1"/>
          </p:nvPr>
        </p:nvSpPr>
        <p:spPr bwMode="gray">
          <a:xfrm>
            <a:off x="1042284" y="4775921"/>
            <a:ext cx="4837816" cy="553998"/>
          </a:xfrm>
        </p:spPr>
        <p:txBody>
          <a:bodyPr>
            <a:noAutofit/>
          </a:bodyPr>
          <a:lstStyle>
            <a:lvl1pPr marL="0" indent="0" algn="l" rtl="0">
              <a:spcBef>
                <a:spcPts val="0"/>
              </a:spcBef>
              <a:spcAft>
                <a:spcPts val="0"/>
              </a:spcAft>
              <a:buNone/>
              <a:defRPr sz="1800" b="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noProof="0" dirty="0"/>
              <a:t>Ihr persönlicher Ansprechpartner </a:t>
            </a:r>
            <a:br>
              <a:rPr lang="de-DE" noProof="0" dirty="0"/>
            </a:br>
            <a:r>
              <a:rPr lang="de-DE" noProof="0" dirty="0"/>
              <a:t>steht ihnen sehr gerne zur Verfügung.</a:t>
            </a:r>
          </a:p>
        </p:txBody>
      </p:sp>
      <p:sp>
        <p:nvSpPr>
          <p:cNvPr id="9" name="Textplatzhalter 8">
            <a:extLst>
              <a:ext uri="{FF2B5EF4-FFF2-40B4-BE49-F238E27FC236}">
                <a16:creationId xmlns:a16="http://schemas.microsoft.com/office/drawing/2014/main" id="{F963E73E-C3B7-4B41-882B-6480581EA544}"/>
              </a:ext>
            </a:extLst>
          </p:cNvPr>
          <p:cNvSpPr>
            <a:spLocks noGrp="1"/>
          </p:cNvSpPr>
          <p:nvPr>
            <p:ph type="body" sz="quarter" idx="13" hasCustomPrompt="1"/>
          </p:nvPr>
        </p:nvSpPr>
        <p:spPr bwMode="gray">
          <a:xfrm>
            <a:off x="1042286" y="5521076"/>
            <a:ext cx="4837816" cy="553998"/>
          </a:xfrm>
        </p:spPr>
        <p:txBody>
          <a:bodyPr>
            <a:noAutofit/>
          </a:bodyPr>
          <a:lstStyle>
            <a:lvl1pPr rtl="0">
              <a:spcBef>
                <a:spcPts val="0"/>
              </a:spcBef>
              <a:spcAft>
                <a:spcPts val="0"/>
              </a:spcAft>
              <a:defRPr sz="1200" b="0">
                <a:solidFill>
                  <a:schemeClr val="bg1"/>
                </a:solidFill>
              </a:defRPr>
            </a:lvl1pPr>
          </a:lstStyle>
          <a:p>
            <a:pPr lvl="0"/>
            <a:r>
              <a:rPr lang="de-DE" noProof="0" dirty="0"/>
              <a:t>Informationen über die einfache und schnelle Anbindung </a:t>
            </a:r>
            <a:br>
              <a:rPr lang="de-DE" noProof="0" dirty="0"/>
            </a:br>
            <a:r>
              <a:rPr lang="de-DE" noProof="0" dirty="0"/>
              <a:t>als Makler bei der Fonds Finanz finden Sie unter </a:t>
            </a:r>
            <a:br>
              <a:rPr lang="de-DE" noProof="0" dirty="0"/>
            </a:br>
            <a:r>
              <a:rPr lang="de-DE" noProof="0" dirty="0"/>
              <a:t>www.fondsfinanz.de/meine-fonds-finanz/anbindung</a:t>
            </a:r>
          </a:p>
        </p:txBody>
      </p:sp>
      <p:sp>
        <p:nvSpPr>
          <p:cNvPr id="13" name="Freihandform: Form 12">
            <a:extLst>
              <a:ext uri="{FF2B5EF4-FFF2-40B4-BE49-F238E27FC236}">
                <a16:creationId xmlns:a16="http://schemas.microsoft.com/office/drawing/2014/main" id="{6E926275-ED70-4B80-8456-79A6A955E83E}"/>
              </a:ext>
            </a:extLst>
          </p:cNvPr>
          <p:cNvSpPr/>
          <p:nvPr userDrawn="1"/>
        </p:nvSpPr>
        <p:spPr>
          <a:xfrm>
            <a:off x="10442163" y="762329"/>
            <a:ext cx="977020" cy="497591"/>
          </a:xfrm>
          <a:custGeom>
            <a:avLst/>
            <a:gdLst>
              <a:gd name="connsiteX0" fmla="*/ 514353 w 977020"/>
              <a:gd name="connsiteY0" fmla="*/ 411433 h 497591"/>
              <a:gd name="connsiteX1" fmla="*/ 495255 w 977020"/>
              <a:gd name="connsiteY1" fmla="*/ 414837 h 497591"/>
              <a:gd name="connsiteX2" fmla="*/ 482040 w 977020"/>
              <a:gd name="connsiteY2" fmla="*/ 422346 h 497591"/>
              <a:gd name="connsiteX3" fmla="*/ 477034 w 977020"/>
              <a:gd name="connsiteY3" fmla="*/ 434861 h 497591"/>
              <a:gd name="connsiteX4" fmla="*/ 483291 w 977020"/>
              <a:gd name="connsiteY4" fmla="*/ 451305 h 497591"/>
              <a:gd name="connsiteX5" fmla="*/ 500587 w 977020"/>
              <a:gd name="connsiteY5" fmla="*/ 457162 h 497591"/>
              <a:gd name="connsiteX6" fmla="*/ 524014 w 977020"/>
              <a:gd name="connsiteY6" fmla="*/ 450554 h 497591"/>
              <a:gd name="connsiteX7" fmla="*/ 536879 w 977020"/>
              <a:gd name="connsiteY7" fmla="*/ 436363 h 497591"/>
              <a:gd name="connsiteX8" fmla="*/ 536879 w 977020"/>
              <a:gd name="connsiteY8" fmla="*/ 411809 h 497591"/>
              <a:gd name="connsiteX9" fmla="*/ 514353 w 977020"/>
              <a:gd name="connsiteY9" fmla="*/ 411433 h 497591"/>
              <a:gd name="connsiteX10" fmla="*/ 823064 w 977020"/>
              <a:gd name="connsiteY10" fmla="*/ 305384 h 497591"/>
              <a:gd name="connsiteX11" fmla="*/ 971288 w 977020"/>
              <a:gd name="connsiteY11" fmla="*/ 305384 h 497591"/>
              <a:gd name="connsiteX12" fmla="*/ 971288 w 977020"/>
              <a:gd name="connsiteY12" fmla="*/ 347033 h 497591"/>
              <a:gd name="connsiteX13" fmla="*/ 897552 w 977020"/>
              <a:gd name="connsiteY13" fmla="*/ 438215 h 497591"/>
              <a:gd name="connsiteX14" fmla="*/ 878655 w 977020"/>
              <a:gd name="connsiteY14" fmla="*/ 452957 h 497591"/>
              <a:gd name="connsiteX15" fmla="*/ 971263 w 977020"/>
              <a:gd name="connsiteY15" fmla="*/ 452957 h 497591"/>
              <a:gd name="connsiteX16" fmla="*/ 971263 w 977020"/>
              <a:gd name="connsiteY16" fmla="*/ 494556 h 497591"/>
              <a:gd name="connsiteX17" fmla="*/ 823064 w 977020"/>
              <a:gd name="connsiteY17" fmla="*/ 494556 h 497591"/>
              <a:gd name="connsiteX18" fmla="*/ 823064 w 977020"/>
              <a:gd name="connsiteY18" fmla="*/ 452957 h 497591"/>
              <a:gd name="connsiteX19" fmla="*/ 897552 w 977020"/>
              <a:gd name="connsiteY19" fmla="*/ 363352 h 497591"/>
              <a:gd name="connsiteX20" fmla="*/ 916824 w 977020"/>
              <a:gd name="connsiteY20" fmla="*/ 347083 h 497591"/>
              <a:gd name="connsiteX21" fmla="*/ 823064 w 977020"/>
              <a:gd name="connsiteY21" fmla="*/ 347083 h 497591"/>
              <a:gd name="connsiteX22" fmla="*/ 517607 w 977020"/>
              <a:gd name="connsiteY22" fmla="*/ 301705 h 497591"/>
              <a:gd name="connsiteX23" fmla="*/ 550495 w 977020"/>
              <a:gd name="connsiteY23" fmla="*/ 306435 h 497591"/>
              <a:gd name="connsiteX24" fmla="*/ 582457 w 977020"/>
              <a:gd name="connsiteY24" fmla="*/ 340650 h 497591"/>
              <a:gd name="connsiteX25" fmla="*/ 585686 w 977020"/>
              <a:gd name="connsiteY25" fmla="*/ 367882 h 497591"/>
              <a:gd name="connsiteX26" fmla="*/ 584535 w 977020"/>
              <a:gd name="connsiteY26" fmla="*/ 401346 h 497591"/>
              <a:gd name="connsiteX27" fmla="*/ 583183 w 977020"/>
              <a:gd name="connsiteY27" fmla="*/ 434435 h 497591"/>
              <a:gd name="connsiteX28" fmla="*/ 584109 w 977020"/>
              <a:gd name="connsiteY28" fmla="*/ 465997 h 497591"/>
              <a:gd name="connsiteX29" fmla="*/ 589791 w 977020"/>
              <a:gd name="connsiteY29" fmla="*/ 494931 h 497591"/>
              <a:gd name="connsiteX30" fmla="*/ 549744 w 977020"/>
              <a:gd name="connsiteY30" fmla="*/ 494931 h 497591"/>
              <a:gd name="connsiteX31" fmla="*/ 541785 w 977020"/>
              <a:gd name="connsiteY31" fmla="*/ 468851 h 497591"/>
              <a:gd name="connsiteX32" fmla="*/ 539908 w 977020"/>
              <a:gd name="connsiteY32" fmla="*/ 468851 h 497591"/>
              <a:gd name="connsiteX33" fmla="*/ 518933 w 977020"/>
              <a:gd name="connsiteY33" fmla="*/ 489074 h 497591"/>
              <a:gd name="connsiteX34" fmla="*/ 484317 w 977020"/>
              <a:gd name="connsiteY34" fmla="*/ 497584 h 497591"/>
              <a:gd name="connsiteX35" fmla="*/ 460490 w 977020"/>
              <a:gd name="connsiteY35" fmla="*/ 493605 h 497591"/>
              <a:gd name="connsiteX36" fmla="*/ 430505 w 977020"/>
              <a:gd name="connsiteY36" fmla="*/ 464871 h 497591"/>
              <a:gd name="connsiteX37" fmla="*/ 426350 w 977020"/>
              <a:gd name="connsiteY37" fmla="*/ 442345 h 497591"/>
              <a:gd name="connsiteX38" fmla="*/ 434084 w 977020"/>
              <a:gd name="connsiteY38" fmla="*/ 413035 h 497591"/>
              <a:gd name="connsiteX39" fmla="*/ 456410 w 977020"/>
              <a:gd name="connsiteY39" fmla="*/ 393763 h 497591"/>
              <a:gd name="connsiteX40" fmla="*/ 491201 w 977020"/>
              <a:gd name="connsiteY40" fmla="*/ 383551 h 497591"/>
              <a:gd name="connsiteX41" fmla="*/ 536378 w 977020"/>
              <a:gd name="connsiteY41" fmla="*/ 381849 h 497591"/>
              <a:gd name="connsiteX42" fmla="*/ 533350 w 977020"/>
              <a:gd name="connsiteY42" fmla="*/ 351413 h 497591"/>
              <a:gd name="connsiteX43" fmla="*/ 533475 w 977020"/>
              <a:gd name="connsiteY43" fmla="*/ 351438 h 497591"/>
              <a:gd name="connsiteX44" fmla="*/ 508145 w 977020"/>
              <a:gd name="connsiteY44" fmla="*/ 342177 h 497591"/>
              <a:gd name="connsiteX45" fmla="*/ 476959 w 977020"/>
              <a:gd name="connsiteY45" fmla="*/ 345206 h 497591"/>
              <a:gd name="connsiteX46" fmla="*/ 449902 w 977020"/>
              <a:gd name="connsiteY46" fmla="*/ 353140 h 497591"/>
              <a:gd name="connsiteX47" fmla="*/ 438189 w 977020"/>
              <a:gd name="connsiteY47" fmla="*/ 316472 h 497591"/>
              <a:gd name="connsiteX48" fmla="*/ 474105 w 977020"/>
              <a:gd name="connsiteY48" fmla="*/ 305684 h 497591"/>
              <a:gd name="connsiteX49" fmla="*/ 517607 w 977020"/>
              <a:gd name="connsiteY49" fmla="*/ 301705 h 497591"/>
              <a:gd name="connsiteX50" fmla="*/ 339448 w 977020"/>
              <a:gd name="connsiteY50" fmla="*/ 300253 h 497591"/>
              <a:gd name="connsiteX51" fmla="*/ 364477 w 977020"/>
              <a:gd name="connsiteY51" fmla="*/ 304032 h 497591"/>
              <a:gd name="connsiteX52" fmla="*/ 383024 w 977020"/>
              <a:gd name="connsiteY52" fmla="*/ 316547 h 497591"/>
              <a:gd name="connsiteX53" fmla="*/ 394362 w 977020"/>
              <a:gd name="connsiteY53" fmla="*/ 340175 h 497591"/>
              <a:gd name="connsiteX54" fmla="*/ 397966 w 977020"/>
              <a:gd name="connsiteY54" fmla="*/ 377068 h 497591"/>
              <a:gd name="connsiteX55" fmla="*/ 397966 w 977020"/>
              <a:gd name="connsiteY55" fmla="*/ 494706 h 497591"/>
              <a:gd name="connsiteX56" fmla="*/ 348909 w 977020"/>
              <a:gd name="connsiteY56" fmla="*/ 494706 h 497591"/>
              <a:gd name="connsiteX57" fmla="*/ 348909 w 977020"/>
              <a:gd name="connsiteY57" fmla="*/ 387080 h 497591"/>
              <a:gd name="connsiteX58" fmla="*/ 342276 w 977020"/>
              <a:gd name="connsiteY58" fmla="*/ 353816 h 497591"/>
              <a:gd name="connsiteX59" fmla="*/ 319750 w 977020"/>
              <a:gd name="connsiteY59" fmla="*/ 343604 h 497591"/>
              <a:gd name="connsiteX60" fmla="*/ 296097 w 977020"/>
              <a:gd name="connsiteY60" fmla="*/ 351738 h 497591"/>
              <a:gd name="connsiteX61" fmla="*/ 282306 w 977020"/>
              <a:gd name="connsiteY61" fmla="*/ 371962 h 497591"/>
              <a:gd name="connsiteX62" fmla="*/ 282306 w 977020"/>
              <a:gd name="connsiteY62" fmla="*/ 494481 h 497591"/>
              <a:gd name="connsiteX63" fmla="*/ 233198 w 977020"/>
              <a:gd name="connsiteY63" fmla="*/ 494481 h 497591"/>
              <a:gd name="connsiteX64" fmla="*/ 233198 w 977020"/>
              <a:gd name="connsiteY64" fmla="*/ 305484 h 497591"/>
              <a:gd name="connsiteX65" fmla="*/ 272144 w 977020"/>
              <a:gd name="connsiteY65" fmla="*/ 305484 h 497591"/>
              <a:gd name="connsiteX66" fmla="*/ 277826 w 977020"/>
              <a:gd name="connsiteY66" fmla="*/ 330514 h 497591"/>
              <a:gd name="connsiteX67" fmla="*/ 279327 w 977020"/>
              <a:gd name="connsiteY67" fmla="*/ 330514 h 497591"/>
              <a:gd name="connsiteX68" fmla="*/ 302404 w 977020"/>
              <a:gd name="connsiteY68" fmla="*/ 309339 h 497591"/>
              <a:gd name="connsiteX69" fmla="*/ 339448 w 977020"/>
              <a:gd name="connsiteY69" fmla="*/ 300253 h 497591"/>
              <a:gd name="connsiteX70" fmla="*/ 733109 w 977020"/>
              <a:gd name="connsiteY70" fmla="*/ 300228 h 497591"/>
              <a:gd name="connsiteX71" fmla="*/ 758138 w 977020"/>
              <a:gd name="connsiteY71" fmla="*/ 304007 h 497591"/>
              <a:gd name="connsiteX72" fmla="*/ 776685 w 977020"/>
              <a:gd name="connsiteY72" fmla="*/ 316522 h 497591"/>
              <a:gd name="connsiteX73" fmla="*/ 788023 w 977020"/>
              <a:gd name="connsiteY73" fmla="*/ 340150 h 497591"/>
              <a:gd name="connsiteX74" fmla="*/ 791678 w 977020"/>
              <a:gd name="connsiteY74" fmla="*/ 377068 h 497591"/>
              <a:gd name="connsiteX75" fmla="*/ 791678 w 977020"/>
              <a:gd name="connsiteY75" fmla="*/ 494706 h 497591"/>
              <a:gd name="connsiteX76" fmla="*/ 742520 w 977020"/>
              <a:gd name="connsiteY76" fmla="*/ 494706 h 497591"/>
              <a:gd name="connsiteX77" fmla="*/ 742520 w 977020"/>
              <a:gd name="connsiteY77" fmla="*/ 387080 h 497591"/>
              <a:gd name="connsiteX78" fmla="*/ 735912 w 977020"/>
              <a:gd name="connsiteY78" fmla="*/ 353816 h 497591"/>
              <a:gd name="connsiteX79" fmla="*/ 713386 w 977020"/>
              <a:gd name="connsiteY79" fmla="*/ 343604 h 497591"/>
              <a:gd name="connsiteX80" fmla="*/ 689758 w 977020"/>
              <a:gd name="connsiteY80" fmla="*/ 351738 h 497591"/>
              <a:gd name="connsiteX81" fmla="*/ 675942 w 977020"/>
              <a:gd name="connsiteY81" fmla="*/ 371962 h 497591"/>
              <a:gd name="connsiteX82" fmla="*/ 675942 w 977020"/>
              <a:gd name="connsiteY82" fmla="*/ 494481 h 497591"/>
              <a:gd name="connsiteX83" fmla="*/ 626810 w 977020"/>
              <a:gd name="connsiteY83" fmla="*/ 494481 h 497591"/>
              <a:gd name="connsiteX84" fmla="*/ 626734 w 977020"/>
              <a:gd name="connsiteY84" fmla="*/ 305459 h 497591"/>
              <a:gd name="connsiteX85" fmla="*/ 665780 w 977020"/>
              <a:gd name="connsiteY85" fmla="*/ 305459 h 497591"/>
              <a:gd name="connsiteX86" fmla="*/ 671462 w 977020"/>
              <a:gd name="connsiteY86" fmla="*/ 330489 h 497591"/>
              <a:gd name="connsiteX87" fmla="*/ 672989 w 977020"/>
              <a:gd name="connsiteY87" fmla="*/ 330489 h 497591"/>
              <a:gd name="connsiteX88" fmla="*/ 696041 w 977020"/>
              <a:gd name="connsiteY88" fmla="*/ 309314 h 497591"/>
              <a:gd name="connsiteX89" fmla="*/ 733109 w 977020"/>
              <a:gd name="connsiteY89" fmla="*/ 300228 h 497591"/>
              <a:gd name="connsiteX90" fmla="*/ 730506 w 977020"/>
              <a:gd name="connsiteY90" fmla="*/ 115762 h 497591"/>
              <a:gd name="connsiteX91" fmla="*/ 699295 w 977020"/>
              <a:gd name="connsiteY91" fmla="*/ 129753 h 497591"/>
              <a:gd name="connsiteX92" fmla="*/ 688907 w 977020"/>
              <a:gd name="connsiteY92" fmla="*/ 177785 h 497591"/>
              <a:gd name="connsiteX93" fmla="*/ 697417 w 977020"/>
              <a:gd name="connsiteY93" fmla="*/ 216730 h 497591"/>
              <a:gd name="connsiteX94" fmla="*/ 724449 w 977020"/>
              <a:gd name="connsiteY94" fmla="*/ 231472 h 497591"/>
              <a:gd name="connsiteX95" fmla="*/ 747125 w 977020"/>
              <a:gd name="connsiteY95" fmla="*/ 224464 h 497591"/>
              <a:gd name="connsiteX96" fmla="*/ 747125 w 977020"/>
              <a:gd name="connsiteY96" fmla="*/ 224389 h 497591"/>
              <a:gd name="connsiteX97" fmla="*/ 758864 w 977020"/>
              <a:gd name="connsiteY97" fmla="*/ 204166 h 497591"/>
              <a:gd name="connsiteX98" fmla="*/ 758864 w 977020"/>
              <a:gd name="connsiteY98" fmla="*/ 124072 h 497591"/>
              <a:gd name="connsiteX99" fmla="*/ 747125 w 977020"/>
              <a:gd name="connsiteY99" fmla="*/ 117839 h 497591"/>
              <a:gd name="connsiteX100" fmla="*/ 730506 w 977020"/>
              <a:gd name="connsiteY100" fmla="*/ 115762 h 497591"/>
              <a:gd name="connsiteX101" fmla="*/ 327108 w 977020"/>
              <a:gd name="connsiteY101" fmla="*/ 114986 h 497591"/>
              <a:gd name="connsiteX102" fmla="*/ 298750 w 977020"/>
              <a:gd name="connsiteY102" fmla="*/ 128602 h 497591"/>
              <a:gd name="connsiteX103" fmla="*/ 288538 w 977020"/>
              <a:gd name="connsiteY103" fmla="*/ 173204 h 497591"/>
              <a:gd name="connsiteX104" fmla="*/ 290816 w 977020"/>
              <a:gd name="connsiteY104" fmla="*/ 196281 h 497591"/>
              <a:gd name="connsiteX105" fmla="*/ 297599 w 977020"/>
              <a:gd name="connsiteY105" fmla="*/ 214803 h 497591"/>
              <a:gd name="connsiteX106" fmla="*/ 309513 w 977020"/>
              <a:gd name="connsiteY106" fmla="*/ 227092 h 497591"/>
              <a:gd name="connsiteX107" fmla="*/ 327033 w 977020"/>
              <a:gd name="connsiteY107" fmla="*/ 231447 h 497591"/>
              <a:gd name="connsiteX108" fmla="*/ 355767 w 977020"/>
              <a:gd name="connsiteY108" fmla="*/ 217456 h 497591"/>
              <a:gd name="connsiteX109" fmla="*/ 355842 w 977020"/>
              <a:gd name="connsiteY109" fmla="*/ 217456 h 497591"/>
              <a:gd name="connsiteX110" fmla="*/ 365303 w 977020"/>
              <a:gd name="connsiteY110" fmla="*/ 173204 h 497591"/>
              <a:gd name="connsiteX111" fmla="*/ 356593 w 977020"/>
              <a:gd name="connsiteY111" fmla="*/ 131055 h 497591"/>
              <a:gd name="connsiteX112" fmla="*/ 327108 w 977020"/>
              <a:gd name="connsiteY112" fmla="*/ 114986 h 497591"/>
              <a:gd name="connsiteX113" fmla="*/ 906262 w 977020"/>
              <a:gd name="connsiteY113" fmla="*/ 73413 h 497591"/>
              <a:gd name="connsiteX114" fmla="*/ 945207 w 977020"/>
              <a:gd name="connsiteY114" fmla="*/ 77968 h 497591"/>
              <a:gd name="connsiteX115" fmla="*/ 972439 w 977020"/>
              <a:gd name="connsiteY115" fmla="*/ 88155 h 497591"/>
              <a:gd name="connsiteX116" fmla="*/ 961477 w 977020"/>
              <a:gd name="connsiteY116" fmla="*/ 123721 h 497591"/>
              <a:gd name="connsiteX117" fmla="*/ 939551 w 977020"/>
              <a:gd name="connsiteY117" fmla="*/ 116538 h 497591"/>
              <a:gd name="connsiteX118" fmla="*/ 912694 w 977020"/>
              <a:gd name="connsiteY118" fmla="*/ 112734 h 497591"/>
              <a:gd name="connsiteX119" fmla="*/ 896250 w 977020"/>
              <a:gd name="connsiteY119" fmla="*/ 116989 h 497591"/>
              <a:gd name="connsiteX120" fmla="*/ 890833 w 977020"/>
              <a:gd name="connsiteY120" fmla="*/ 129603 h 497591"/>
              <a:gd name="connsiteX121" fmla="*/ 890819 w 977020"/>
              <a:gd name="connsiteY121" fmla="*/ 129578 h 497591"/>
              <a:gd name="connsiteX122" fmla="*/ 890769 w 977020"/>
              <a:gd name="connsiteY122" fmla="*/ 129753 h 497591"/>
              <a:gd name="connsiteX123" fmla="*/ 890833 w 977020"/>
              <a:gd name="connsiteY123" fmla="*/ 129603 h 497591"/>
              <a:gd name="connsiteX124" fmla="*/ 897226 w 977020"/>
              <a:gd name="connsiteY124" fmla="*/ 140541 h 497591"/>
              <a:gd name="connsiteX125" fmla="*/ 913120 w 977020"/>
              <a:gd name="connsiteY125" fmla="*/ 148300 h 497591"/>
              <a:gd name="connsiteX126" fmla="*/ 933919 w 977020"/>
              <a:gd name="connsiteY126" fmla="*/ 156059 h 497591"/>
              <a:gd name="connsiteX127" fmla="*/ 954719 w 977020"/>
              <a:gd name="connsiteY127" fmla="*/ 166822 h 497591"/>
              <a:gd name="connsiteX128" fmla="*/ 970612 w 977020"/>
              <a:gd name="connsiteY128" fmla="*/ 184042 h 497591"/>
              <a:gd name="connsiteX129" fmla="*/ 977020 w 977020"/>
              <a:gd name="connsiteY129" fmla="*/ 211249 h 497591"/>
              <a:gd name="connsiteX130" fmla="*/ 958698 w 977020"/>
              <a:gd name="connsiteY130" fmla="*/ 256301 h 497591"/>
              <a:gd name="connsiteX131" fmla="*/ 903634 w 977020"/>
              <a:gd name="connsiteY131" fmla="*/ 272771 h 497591"/>
              <a:gd name="connsiteX132" fmla="*/ 866090 w 977020"/>
              <a:gd name="connsiteY132" fmla="*/ 267765 h 497591"/>
              <a:gd name="connsiteX133" fmla="*/ 837557 w 977020"/>
              <a:gd name="connsiteY133" fmla="*/ 255851 h 497591"/>
              <a:gd name="connsiteX134" fmla="*/ 851122 w 977020"/>
              <a:gd name="connsiteY134" fmla="*/ 219383 h 497591"/>
              <a:gd name="connsiteX135" fmla="*/ 874174 w 977020"/>
              <a:gd name="connsiteY135" fmla="*/ 229020 h 497591"/>
              <a:gd name="connsiteX136" fmla="*/ 903684 w 977020"/>
              <a:gd name="connsiteY136" fmla="*/ 233725 h 497591"/>
              <a:gd name="connsiteX137" fmla="*/ 921204 w 977020"/>
              <a:gd name="connsiteY137" fmla="*/ 229570 h 497591"/>
              <a:gd name="connsiteX138" fmla="*/ 927837 w 977020"/>
              <a:gd name="connsiteY138" fmla="*/ 215604 h 497591"/>
              <a:gd name="connsiteX139" fmla="*/ 921405 w 977020"/>
              <a:gd name="connsiteY139" fmla="*/ 203490 h 497591"/>
              <a:gd name="connsiteX140" fmla="*/ 905511 w 977020"/>
              <a:gd name="connsiteY140" fmla="*/ 195180 h 497591"/>
              <a:gd name="connsiteX141" fmla="*/ 884711 w 977020"/>
              <a:gd name="connsiteY141" fmla="*/ 187421 h 497591"/>
              <a:gd name="connsiteX142" fmla="*/ 863937 w 977020"/>
              <a:gd name="connsiteY142" fmla="*/ 176458 h 497591"/>
              <a:gd name="connsiteX143" fmla="*/ 848044 w 977020"/>
              <a:gd name="connsiteY143" fmla="*/ 158687 h 497591"/>
              <a:gd name="connsiteX144" fmla="*/ 841611 w 977020"/>
              <a:gd name="connsiteY144" fmla="*/ 130880 h 497591"/>
              <a:gd name="connsiteX145" fmla="*/ 858256 w 977020"/>
              <a:gd name="connsiteY145" fmla="*/ 88155 h 497591"/>
              <a:gd name="connsiteX146" fmla="*/ 906262 w 977020"/>
              <a:gd name="connsiteY146" fmla="*/ 73413 h 497591"/>
              <a:gd name="connsiteX147" fmla="*/ 548993 w 977020"/>
              <a:gd name="connsiteY147" fmla="*/ 73413 h 497591"/>
              <a:gd name="connsiteX148" fmla="*/ 574023 w 977020"/>
              <a:gd name="connsiteY148" fmla="*/ 77192 h 497591"/>
              <a:gd name="connsiteX149" fmla="*/ 592544 w 977020"/>
              <a:gd name="connsiteY149" fmla="*/ 89706 h 497591"/>
              <a:gd name="connsiteX150" fmla="*/ 603883 w 977020"/>
              <a:gd name="connsiteY150" fmla="*/ 113334 h 497591"/>
              <a:gd name="connsiteX151" fmla="*/ 607662 w 977020"/>
              <a:gd name="connsiteY151" fmla="*/ 150202 h 497591"/>
              <a:gd name="connsiteX152" fmla="*/ 607537 w 977020"/>
              <a:gd name="connsiteY152" fmla="*/ 267665 h 497591"/>
              <a:gd name="connsiteX153" fmla="*/ 558454 w 977020"/>
              <a:gd name="connsiteY153" fmla="*/ 267665 h 497591"/>
              <a:gd name="connsiteX154" fmla="*/ 558454 w 977020"/>
              <a:gd name="connsiteY154" fmla="*/ 160314 h 497591"/>
              <a:gd name="connsiteX155" fmla="*/ 551847 w 977020"/>
              <a:gd name="connsiteY155" fmla="*/ 127025 h 497591"/>
              <a:gd name="connsiteX156" fmla="*/ 529320 w 977020"/>
              <a:gd name="connsiteY156" fmla="*/ 116838 h 497591"/>
              <a:gd name="connsiteX157" fmla="*/ 505693 w 977020"/>
              <a:gd name="connsiteY157" fmla="*/ 124948 h 497591"/>
              <a:gd name="connsiteX158" fmla="*/ 491876 w 977020"/>
              <a:gd name="connsiteY158" fmla="*/ 145171 h 497591"/>
              <a:gd name="connsiteX159" fmla="*/ 491876 w 977020"/>
              <a:gd name="connsiteY159" fmla="*/ 267690 h 497591"/>
              <a:gd name="connsiteX160" fmla="*/ 442744 w 977020"/>
              <a:gd name="connsiteY160" fmla="*/ 267690 h 497591"/>
              <a:gd name="connsiteX161" fmla="*/ 442744 w 977020"/>
              <a:gd name="connsiteY161" fmla="*/ 78644 h 497591"/>
              <a:gd name="connsiteX162" fmla="*/ 481689 w 977020"/>
              <a:gd name="connsiteY162" fmla="*/ 78644 h 497591"/>
              <a:gd name="connsiteX163" fmla="*/ 487371 w 977020"/>
              <a:gd name="connsiteY163" fmla="*/ 103673 h 497591"/>
              <a:gd name="connsiteX164" fmla="*/ 488873 w 977020"/>
              <a:gd name="connsiteY164" fmla="*/ 103673 h 497591"/>
              <a:gd name="connsiteX165" fmla="*/ 511950 w 977020"/>
              <a:gd name="connsiteY165" fmla="*/ 82498 h 497591"/>
              <a:gd name="connsiteX166" fmla="*/ 548993 w 977020"/>
              <a:gd name="connsiteY166" fmla="*/ 73413 h 497591"/>
              <a:gd name="connsiteX167" fmla="*/ 327008 w 977020"/>
              <a:gd name="connsiteY167" fmla="*/ 73337 h 497591"/>
              <a:gd name="connsiteX168" fmla="*/ 366329 w 977020"/>
              <a:gd name="connsiteY168" fmla="*/ 80521 h 497591"/>
              <a:gd name="connsiteX169" fmla="*/ 393862 w 977020"/>
              <a:gd name="connsiteY169" fmla="*/ 100769 h 497591"/>
              <a:gd name="connsiteX170" fmla="*/ 410481 w 977020"/>
              <a:gd name="connsiteY170" fmla="*/ 132331 h 497591"/>
              <a:gd name="connsiteX171" fmla="*/ 415963 w 977020"/>
              <a:gd name="connsiteY171" fmla="*/ 173154 h 497591"/>
              <a:gd name="connsiteX172" fmla="*/ 415812 w 977020"/>
              <a:gd name="connsiteY172" fmla="*/ 173154 h 497591"/>
              <a:gd name="connsiteX173" fmla="*/ 392560 w 977020"/>
              <a:gd name="connsiteY173" fmla="*/ 247091 h 497591"/>
              <a:gd name="connsiteX174" fmla="*/ 326958 w 977020"/>
              <a:gd name="connsiteY174" fmla="*/ 272996 h 497591"/>
              <a:gd name="connsiteX175" fmla="*/ 287837 w 977020"/>
              <a:gd name="connsiteY175" fmla="*/ 265813 h 497591"/>
              <a:gd name="connsiteX176" fmla="*/ 260030 w 977020"/>
              <a:gd name="connsiteY176" fmla="*/ 245589 h 497591"/>
              <a:gd name="connsiteX177" fmla="*/ 243410 w 977020"/>
              <a:gd name="connsiteY177" fmla="*/ 214002 h 497591"/>
              <a:gd name="connsiteX178" fmla="*/ 237779 w 977020"/>
              <a:gd name="connsiteY178" fmla="*/ 173154 h 497591"/>
              <a:gd name="connsiteX179" fmla="*/ 261206 w 977020"/>
              <a:gd name="connsiteY179" fmla="*/ 99243 h 497591"/>
              <a:gd name="connsiteX180" fmla="*/ 327008 w 977020"/>
              <a:gd name="connsiteY180" fmla="*/ 73337 h 497591"/>
              <a:gd name="connsiteX181" fmla="*/ 758864 w 977020"/>
              <a:gd name="connsiteY181" fmla="*/ 3005 h 497591"/>
              <a:gd name="connsiteX182" fmla="*/ 808022 w 977020"/>
              <a:gd name="connsiteY182" fmla="*/ 3005 h 497591"/>
              <a:gd name="connsiteX183" fmla="*/ 808022 w 977020"/>
              <a:gd name="connsiteY183" fmla="*/ 201137 h 497591"/>
              <a:gd name="connsiteX184" fmla="*/ 808397 w 977020"/>
              <a:gd name="connsiteY184" fmla="*/ 232924 h 497591"/>
              <a:gd name="connsiteX185" fmla="*/ 811801 w 977020"/>
              <a:gd name="connsiteY185" fmla="*/ 267965 h 497591"/>
              <a:gd name="connsiteX186" fmla="*/ 811726 w 977020"/>
              <a:gd name="connsiteY186" fmla="*/ 268040 h 497591"/>
              <a:gd name="connsiteX187" fmla="*/ 776685 w 977020"/>
              <a:gd name="connsiteY187" fmla="*/ 268040 h 497591"/>
              <a:gd name="connsiteX188" fmla="*/ 769877 w 977020"/>
              <a:gd name="connsiteY188" fmla="*/ 243462 h 497591"/>
              <a:gd name="connsiteX189" fmla="*/ 768400 w 977020"/>
              <a:gd name="connsiteY189" fmla="*/ 243462 h 497591"/>
              <a:gd name="connsiteX190" fmla="*/ 746650 w 977020"/>
              <a:gd name="connsiteY190" fmla="*/ 264837 h 497591"/>
              <a:gd name="connsiteX191" fmla="*/ 713186 w 977020"/>
              <a:gd name="connsiteY191" fmla="*/ 272971 h 497591"/>
              <a:gd name="connsiteX192" fmla="*/ 657971 w 977020"/>
              <a:gd name="connsiteY192" fmla="*/ 249519 h 497591"/>
              <a:gd name="connsiteX193" fmla="*/ 638248 w 977020"/>
              <a:gd name="connsiteY193" fmla="*/ 176183 h 497591"/>
              <a:gd name="connsiteX194" fmla="*/ 660199 w 977020"/>
              <a:gd name="connsiteY194" fmla="*/ 100945 h 497591"/>
              <a:gd name="connsiteX195" fmla="*/ 724449 w 977020"/>
              <a:gd name="connsiteY195" fmla="*/ 74213 h 497591"/>
              <a:gd name="connsiteX196" fmla="*/ 743721 w 977020"/>
              <a:gd name="connsiteY196" fmla="*/ 75565 h 497591"/>
              <a:gd name="connsiteX197" fmla="*/ 758864 w 977020"/>
              <a:gd name="connsiteY197" fmla="*/ 79895 h 497591"/>
              <a:gd name="connsiteX198" fmla="*/ 198107 w 977020"/>
              <a:gd name="connsiteY198" fmla="*/ 1 h 497591"/>
              <a:gd name="connsiteX199" fmla="*/ 248416 w 977020"/>
              <a:gd name="connsiteY199" fmla="*/ 7185 h 497591"/>
              <a:gd name="connsiteX200" fmla="*/ 248516 w 977020"/>
              <a:gd name="connsiteY200" fmla="*/ 7185 h 497591"/>
              <a:gd name="connsiteX201" fmla="*/ 239055 w 977020"/>
              <a:gd name="connsiteY201" fmla="*/ 46506 h 497591"/>
              <a:gd name="connsiteX202" fmla="*/ 223737 w 977020"/>
              <a:gd name="connsiteY202" fmla="*/ 42526 h 497591"/>
              <a:gd name="connsiteX203" fmla="*/ 209946 w 977020"/>
              <a:gd name="connsiteY203" fmla="*/ 41575 h 497591"/>
              <a:gd name="connsiteX204" fmla="*/ 198032 w 977020"/>
              <a:gd name="connsiteY204" fmla="*/ 43853 h 497591"/>
              <a:gd name="connsiteX205" fmla="*/ 191600 w 977020"/>
              <a:gd name="connsiteY205" fmla="*/ 50861 h 497591"/>
              <a:gd name="connsiteX206" fmla="*/ 188947 w 977020"/>
              <a:gd name="connsiteY206" fmla="*/ 62575 h 497591"/>
              <a:gd name="connsiteX207" fmla="*/ 188371 w 977020"/>
              <a:gd name="connsiteY207" fmla="*/ 78644 h 497591"/>
              <a:gd name="connsiteX208" fmla="*/ 229970 w 977020"/>
              <a:gd name="connsiteY208" fmla="*/ 78644 h 497591"/>
              <a:gd name="connsiteX209" fmla="*/ 229970 w 977020"/>
              <a:gd name="connsiteY209" fmla="*/ 120217 h 497591"/>
              <a:gd name="connsiteX210" fmla="*/ 188371 w 977020"/>
              <a:gd name="connsiteY210" fmla="*/ 120217 h 497591"/>
              <a:gd name="connsiteX211" fmla="*/ 188371 w 977020"/>
              <a:gd name="connsiteY211" fmla="*/ 243236 h 497591"/>
              <a:gd name="connsiteX212" fmla="*/ 172752 w 977020"/>
              <a:gd name="connsiteY212" fmla="*/ 280104 h 497591"/>
              <a:gd name="connsiteX213" fmla="*/ 147723 w 977020"/>
              <a:gd name="connsiteY213" fmla="*/ 270894 h 497591"/>
              <a:gd name="connsiteX214" fmla="*/ 116712 w 977020"/>
              <a:gd name="connsiteY214" fmla="*/ 267690 h 497591"/>
              <a:gd name="connsiteX215" fmla="*/ 98941 w 977020"/>
              <a:gd name="connsiteY215" fmla="*/ 270193 h 497591"/>
              <a:gd name="connsiteX216" fmla="*/ 88354 w 977020"/>
              <a:gd name="connsiteY216" fmla="*/ 277376 h 497591"/>
              <a:gd name="connsiteX217" fmla="*/ 83348 w 977020"/>
              <a:gd name="connsiteY217" fmla="*/ 289290 h 497591"/>
              <a:gd name="connsiteX218" fmla="*/ 82221 w 977020"/>
              <a:gd name="connsiteY218" fmla="*/ 305534 h 497591"/>
              <a:gd name="connsiteX219" fmla="*/ 188471 w 977020"/>
              <a:gd name="connsiteY219" fmla="*/ 305534 h 497591"/>
              <a:gd name="connsiteX220" fmla="*/ 188471 w 977020"/>
              <a:gd name="connsiteY220" fmla="*/ 494606 h 497591"/>
              <a:gd name="connsiteX221" fmla="*/ 139439 w 977020"/>
              <a:gd name="connsiteY221" fmla="*/ 494606 h 497591"/>
              <a:gd name="connsiteX222" fmla="*/ 139439 w 977020"/>
              <a:gd name="connsiteY222" fmla="*/ 347033 h 497591"/>
              <a:gd name="connsiteX223" fmla="*/ 82347 w 977020"/>
              <a:gd name="connsiteY223" fmla="*/ 347033 h 497591"/>
              <a:gd name="connsiteX224" fmla="*/ 82347 w 977020"/>
              <a:gd name="connsiteY224" fmla="*/ 494506 h 497591"/>
              <a:gd name="connsiteX225" fmla="*/ 33189 w 977020"/>
              <a:gd name="connsiteY225" fmla="*/ 494506 h 497591"/>
              <a:gd name="connsiteX226" fmla="*/ 33189 w 977020"/>
              <a:gd name="connsiteY226" fmla="*/ 347033 h 497591"/>
              <a:gd name="connsiteX227" fmla="*/ 0 w 977020"/>
              <a:gd name="connsiteY227" fmla="*/ 347033 h 497591"/>
              <a:gd name="connsiteX228" fmla="*/ 0 w 977020"/>
              <a:gd name="connsiteY228" fmla="*/ 305484 h 497591"/>
              <a:gd name="connsiteX229" fmla="*/ 33189 w 977020"/>
              <a:gd name="connsiteY229" fmla="*/ 305484 h 497591"/>
              <a:gd name="connsiteX230" fmla="*/ 33189 w 977020"/>
              <a:gd name="connsiteY230" fmla="*/ 294897 h 497591"/>
              <a:gd name="connsiteX231" fmla="*/ 51711 w 977020"/>
              <a:gd name="connsiteY231" fmla="*/ 242535 h 497591"/>
              <a:gd name="connsiteX232" fmla="*/ 105399 w 977020"/>
              <a:gd name="connsiteY232" fmla="*/ 226091 h 497591"/>
              <a:gd name="connsiteX233" fmla="*/ 139238 w 977020"/>
              <a:gd name="connsiteY233" fmla="*/ 228094 h 497591"/>
              <a:gd name="connsiteX234" fmla="*/ 139238 w 977020"/>
              <a:gd name="connsiteY234" fmla="*/ 120217 h 497591"/>
              <a:gd name="connsiteX235" fmla="*/ 113133 w 977020"/>
              <a:gd name="connsiteY235" fmla="*/ 120217 h 497591"/>
              <a:gd name="connsiteX236" fmla="*/ 113133 w 977020"/>
              <a:gd name="connsiteY236" fmla="*/ 78644 h 497591"/>
              <a:gd name="connsiteX237" fmla="*/ 139238 w 977020"/>
              <a:gd name="connsiteY237" fmla="*/ 78644 h 497591"/>
              <a:gd name="connsiteX238" fmla="*/ 139238 w 977020"/>
              <a:gd name="connsiteY238" fmla="*/ 68056 h 497591"/>
              <a:gd name="connsiteX239" fmla="*/ 154256 w 977020"/>
              <a:gd name="connsiteY239" fmla="*/ 16045 h 497591"/>
              <a:gd name="connsiteX240" fmla="*/ 198107 w 977020"/>
              <a:gd name="connsiteY240" fmla="*/ 1 h 4975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Lst>
            <a:rect l="l" t="t" r="r" b="b"/>
            <a:pathLst>
              <a:path w="977020" h="497591">
                <a:moveTo>
                  <a:pt x="514353" y="411433"/>
                </a:moveTo>
                <a:cubicBezTo>
                  <a:pt x="507878" y="411826"/>
                  <a:pt x="501468" y="412970"/>
                  <a:pt x="495255" y="414837"/>
                </a:cubicBezTo>
                <a:cubicBezTo>
                  <a:pt x="490312" y="416247"/>
                  <a:pt x="485782" y="418822"/>
                  <a:pt x="482040" y="422346"/>
                </a:cubicBezTo>
                <a:cubicBezTo>
                  <a:pt x="478706" y="425640"/>
                  <a:pt x="476891" y="430175"/>
                  <a:pt x="477034" y="434861"/>
                </a:cubicBezTo>
                <a:cubicBezTo>
                  <a:pt x="476666" y="440986"/>
                  <a:pt x="478944" y="446975"/>
                  <a:pt x="483291" y="451305"/>
                </a:cubicBezTo>
                <a:cubicBezTo>
                  <a:pt x="488062" y="455457"/>
                  <a:pt x="494274" y="457562"/>
                  <a:pt x="500587" y="457162"/>
                </a:cubicBezTo>
                <a:cubicBezTo>
                  <a:pt x="510423" y="457162"/>
                  <a:pt x="518107" y="454984"/>
                  <a:pt x="524014" y="450554"/>
                </a:cubicBezTo>
                <a:cubicBezTo>
                  <a:pt x="529253" y="446780"/>
                  <a:pt x="533635" y="441944"/>
                  <a:pt x="536879" y="436363"/>
                </a:cubicBezTo>
                <a:lnTo>
                  <a:pt x="536879" y="411809"/>
                </a:lnTo>
                <a:cubicBezTo>
                  <a:pt x="529393" y="411075"/>
                  <a:pt x="521859" y="410948"/>
                  <a:pt x="514353" y="411433"/>
                </a:cubicBezTo>
                <a:close/>
                <a:moveTo>
                  <a:pt x="823064" y="305384"/>
                </a:moveTo>
                <a:lnTo>
                  <a:pt x="971288" y="305384"/>
                </a:lnTo>
                <a:lnTo>
                  <a:pt x="971288" y="347033"/>
                </a:lnTo>
                <a:lnTo>
                  <a:pt x="897552" y="438215"/>
                </a:lnTo>
                <a:lnTo>
                  <a:pt x="878655" y="452957"/>
                </a:lnTo>
                <a:lnTo>
                  <a:pt x="971263" y="452957"/>
                </a:lnTo>
                <a:lnTo>
                  <a:pt x="971263" y="494556"/>
                </a:lnTo>
                <a:lnTo>
                  <a:pt x="823064" y="494556"/>
                </a:lnTo>
                <a:lnTo>
                  <a:pt x="823064" y="452957"/>
                </a:lnTo>
                <a:lnTo>
                  <a:pt x="897552" y="363352"/>
                </a:lnTo>
                <a:lnTo>
                  <a:pt x="916824" y="347083"/>
                </a:lnTo>
                <a:lnTo>
                  <a:pt x="823064" y="347083"/>
                </a:lnTo>
                <a:close/>
                <a:moveTo>
                  <a:pt x="517607" y="301705"/>
                </a:moveTo>
                <a:cubicBezTo>
                  <a:pt x="528757" y="301412"/>
                  <a:pt x="539878" y="303011"/>
                  <a:pt x="550495" y="306435"/>
                </a:cubicBezTo>
                <a:cubicBezTo>
                  <a:pt x="566414" y="311441"/>
                  <a:pt x="578545" y="324426"/>
                  <a:pt x="582457" y="340650"/>
                </a:cubicBezTo>
                <a:cubicBezTo>
                  <a:pt x="584695" y="349551"/>
                  <a:pt x="585781" y="358704"/>
                  <a:pt x="585686" y="367882"/>
                </a:cubicBezTo>
                <a:cubicBezTo>
                  <a:pt x="585686" y="378978"/>
                  <a:pt x="585303" y="390133"/>
                  <a:pt x="584535" y="401346"/>
                </a:cubicBezTo>
                <a:cubicBezTo>
                  <a:pt x="583767" y="412560"/>
                  <a:pt x="583316" y="423590"/>
                  <a:pt x="583183" y="434435"/>
                </a:cubicBezTo>
                <a:cubicBezTo>
                  <a:pt x="583051" y="445265"/>
                  <a:pt x="583359" y="455785"/>
                  <a:pt x="584109" y="465997"/>
                </a:cubicBezTo>
                <a:cubicBezTo>
                  <a:pt x="584805" y="475839"/>
                  <a:pt x="586713" y="485558"/>
                  <a:pt x="589791" y="494931"/>
                </a:cubicBezTo>
                <a:lnTo>
                  <a:pt x="549744" y="494931"/>
                </a:lnTo>
                <a:lnTo>
                  <a:pt x="541785" y="468851"/>
                </a:lnTo>
                <a:lnTo>
                  <a:pt x="539908" y="468851"/>
                </a:lnTo>
                <a:cubicBezTo>
                  <a:pt x="534469" y="477038"/>
                  <a:pt x="527313" y="483938"/>
                  <a:pt x="518933" y="489074"/>
                </a:cubicBezTo>
                <a:cubicBezTo>
                  <a:pt x="509973" y="494748"/>
                  <a:pt x="498434" y="497584"/>
                  <a:pt x="484317" y="497584"/>
                </a:cubicBezTo>
                <a:cubicBezTo>
                  <a:pt x="476201" y="497704"/>
                  <a:pt x="468129" y="496355"/>
                  <a:pt x="460490" y="493605"/>
                </a:cubicBezTo>
                <a:cubicBezTo>
                  <a:pt x="446861" y="488729"/>
                  <a:pt x="435956" y="478279"/>
                  <a:pt x="430505" y="464871"/>
                </a:cubicBezTo>
                <a:cubicBezTo>
                  <a:pt x="427636" y="457712"/>
                  <a:pt x="426225" y="450054"/>
                  <a:pt x="426350" y="442345"/>
                </a:cubicBezTo>
                <a:cubicBezTo>
                  <a:pt x="426007" y="432028"/>
                  <a:pt x="428695" y="421838"/>
                  <a:pt x="434084" y="413035"/>
                </a:cubicBezTo>
                <a:cubicBezTo>
                  <a:pt x="439680" y="404740"/>
                  <a:pt x="447387" y="398090"/>
                  <a:pt x="456410" y="393763"/>
                </a:cubicBezTo>
                <a:cubicBezTo>
                  <a:pt x="467370" y="388479"/>
                  <a:pt x="479124" y="385030"/>
                  <a:pt x="491201" y="383551"/>
                </a:cubicBezTo>
                <a:cubicBezTo>
                  <a:pt x="506176" y="381608"/>
                  <a:pt x="521298" y="381040"/>
                  <a:pt x="536378" y="381849"/>
                </a:cubicBezTo>
                <a:cubicBezTo>
                  <a:pt x="538131" y="367732"/>
                  <a:pt x="537122" y="357588"/>
                  <a:pt x="533350" y="351413"/>
                </a:cubicBezTo>
                <a:lnTo>
                  <a:pt x="533475" y="351438"/>
                </a:lnTo>
                <a:cubicBezTo>
                  <a:pt x="529703" y="345263"/>
                  <a:pt x="521261" y="342177"/>
                  <a:pt x="508145" y="342177"/>
                </a:cubicBezTo>
                <a:cubicBezTo>
                  <a:pt x="497678" y="342235"/>
                  <a:pt x="487241" y="343248"/>
                  <a:pt x="476959" y="345206"/>
                </a:cubicBezTo>
                <a:cubicBezTo>
                  <a:pt x="467645" y="346715"/>
                  <a:pt x="458557" y="349381"/>
                  <a:pt x="449902" y="353140"/>
                </a:cubicBezTo>
                <a:lnTo>
                  <a:pt x="438189" y="316472"/>
                </a:lnTo>
                <a:cubicBezTo>
                  <a:pt x="449699" y="311491"/>
                  <a:pt x="461753" y="307869"/>
                  <a:pt x="474105" y="305684"/>
                </a:cubicBezTo>
                <a:cubicBezTo>
                  <a:pt x="488447" y="302986"/>
                  <a:pt x="503012" y="301655"/>
                  <a:pt x="517607" y="301705"/>
                </a:cubicBezTo>
                <a:close/>
                <a:moveTo>
                  <a:pt x="339448" y="300253"/>
                </a:moveTo>
                <a:cubicBezTo>
                  <a:pt x="347943" y="300121"/>
                  <a:pt x="356400" y="301397"/>
                  <a:pt x="364477" y="304032"/>
                </a:cubicBezTo>
                <a:cubicBezTo>
                  <a:pt x="371666" y="306475"/>
                  <a:pt x="378068" y="310795"/>
                  <a:pt x="383024" y="316547"/>
                </a:cubicBezTo>
                <a:cubicBezTo>
                  <a:pt x="388595" y="323430"/>
                  <a:pt x="392478" y="331522"/>
                  <a:pt x="394362" y="340175"/>
                </a:cubicBezTo>
                <a:cubicBezTo>
                  <a:pt x="397048" y="352282"/>
                  <a:pt x="398257" y="364671"/>
                  <a:pt x="397966" y="377068"/>
                </a:cubicBezTo>
                <a:lnTo>
                  <a:pt x="397966" y="494706"/>
                </a:lnTo>
                <a:lnTo>
                  <a:pt x="348909" y="494706"/>
                </a:lnTo>
                <a:lnTo>
                  <a:pt x="348909" y="387080"/>
                </a:lnTo>
                <a:cubicBezTo>
                  <a:pt x="348909" y="371712"/>
                  <a:pt x="346699" y="360624"/>
                  <a:pt x="342276" y="353816"/>
                </a:cubicBezTo>
                <a:cubicBezTo>
                  <a:pt x="337853" y="347008"/>
                  <a:pt x="330345" y="343604"/>
                  <a:pt x="319750" y="343604"/>
                </a:cubicBezTo>
                <a:cubicBezTo>
                  <a:pt x="311140" y="343361"/>
                  <a:pt x="302735" y="346250"/>
                  <a:pt x="296097" y="351738"/>
                </a:cubicBezTo>
                <a:cubicBezTo>
                  <a:pt x="289737" y="357090"/>
                  <a:pt x="284967" y="364085"/>
                  <a:pt x="282306" y="371962"/>
                </a:cubicBezTo>
                <a:lnTo>
                  <a:pt x="282306" y="494481"/>
                </a:lnTo>
                <a:lnTo>
                  <a:pt x="233198" y="494481"/>
                </a:lnTo>
                <a:lnTo>
                  <a:pt x="233198" y="305484"/>
                </a:lnTo>
                <a:lnTo>
                  <a:pt x="272144" y="305484"/>
                </a:lnTo>
                <a:lnTo>
                  <a:pt x="277826" y="330514"/>
                </a:lnTo>
                <a:lnTo>
                  <a:pt x="279327" y="330514"/>
                </a:lnTo>
                <a:cubicBezTo>
                  <a:pt x="285570" y="322024"/>
                  <a:pt x="293409" y="314830"/>
                  <a:pt x="302404" y="309339"/>
                </a:cubicBezTo>
                <a:cubicBezTo>
                  <a:pt x="311966" y="303282"/>
                  <a:pt x="324313" y="300253"/>
                  <a:pt x="339448" y="300253"/>
                </a:cubicBezTo>
                <a:close/>
                <a:moveTo>
                  <a:pt x="733109" y="300228"/>
                </a:moveTo>
                <a:cubicBezTo>
                  <a:pt x="741604" y="300093"/>
                  <a:pt x="750061" y="301369"/>
                  <a:pt x="758138" y="304007"/>
                </a:cubicBezTo>
                <a:cubicBezTo>
                  <a:pt x="765327" y="306450"/>
                  <a:pt x="771729" y="310770"/>
                  <a:pt x="776685" y="316522"/>
                </a:cubicBezTo>
                <a:cubicBezTo>
                  <a:pt x="782257" y="323405"/>
                  <a:pt x="786139" y="331497"/>
                  <a:pt x="788023" y="340150"/>
                </a:cubicBezTo>
                <a:cubicBezTo>
                  <a:pt x="790739" y="352261"/>
                  <a:pt x="791966" y="364659"/>
                  <a:pt x="791678" y="377068"/>
                </a:cubicBezTo>
                <a:lnTo>
                  <a:pt x="791678" y="494706"/>
                </a:lnTo>
                <a:lnTo>
                  <a:pt x="742520" y="494706"/>
                </a:lnTo>
                <a:lnTo>
                  <a:pt x="742520" y="387080"/>
                </a:lnTo>
                <a:cubicBezTo>
                  <a:pt x="742520" y="371712"/>
                  <a:pt x="740317" y="360624"/>
                  <a:pt x="735912" y="353816"/>
                </a:cubicBezTo>
                <a:cubicBezTo>
                  <a:pt x="731507" y="347008"/>
                  <a:pt x="723998" y="343604"/>
                  <a:pt x="713386" y="343604"/>
                </a:cubicBezTo>
                <a:cubicBezTo>
                  <a:pt x="704783" y="343354"/>
                  <a:pt x="696383" y="346247"/>
                  <a:pt x="689758" y="351738"/>
                </a:cubicBezTo>
                <a:cubicBezTo>
                  <a:pt x="683383" y="357082"/>
                  <a:pt x="678603" y="364081"/>
                  <a:pt x="675942" y="371962"/>
                </a:cubicBezTo>
                <a:lnTo>
                  <a:pt x="675942" y="494481"/>
                </a:lnTo>
                <a:lnTo>
                  <a:pt x="626810" y="494481"/>
                </a:lnTo>
                <a:lnTo>
                  <a:pt x="626734" y="305459"/>
                </a:lnTo>
                <a:lnTo>
                  <a:pt x="665780" y="305459"/>
                </a:lnTo>
                <a:lnTo>
                  <a:pt x="671462" y="330489"/>
                </a:lnTo>
                <a:lnTo>
                  <a:pt x="672989" y="330489"/>
                </a:lnTo>
                <a:cubicBezTo>
                  <a:pt x="679216" y="321991"/>
                  <a:pt x="687048" y="314798"/>
                  <a:pt x="696041" y="309314"/>
                </a:cubicBezTo>
                <a:cubicBezTo>
                  <a:pt x="705602" y="303257"/>
                  <a:pt x="717959" y="300228"/>
                  <a:pt x="733109" y="300228"/>
                </a:cubicBezTo>
                <a:close/>
                <a:moveTo>
                  <a:pt x="730506" y="115762"/>
                </a:moveTo>
                <a:cubicBezTo>
                  <a:pt x="716640" y="115762"/>
                  <a:pt x="706235" y="120425"/>
                  <a:pt x="699295" y="129753"/>
                </a:cubicBezTo>
                <a:cubicBezTo>
                  <a:pt x="692354" y="139082"/>
                  <a:pt x="688890" y="155091"/>
                  <a:pt x="688907" y="177785"/>
                </a:cubicBezTo>
                <a:cubicBezTo>
                  <a:pt x="688907" y="193903"/>
                  <a:pt x="691743" y="206886"/>
                  <a:pt x="697417" y="216730"/>
                </a:cubicBezTo>
                <a:cubicBezTo>
                  <a:pt x="703091" y="226574"/>
                  <a:pt x="712102" y="231490"/>
                  <a:pt x="724449" y="231472"/>
                </a:cubicBezTo>
                <a:cubicBezTo>
                  <a:pt x="734028" y="231472"/>
                  <a:pt x="741586" y="229137"/>
                  <a:pt x="747125" y="224464"/>
                </a:cubicBezTo>
                <a:lnTo>
                  <a:pt x="747125" y="224389"/>
                </a:lnTo>
                <a:cubicBezTo>
                  <a:pt x="753083" y="219061"/>
                  <a:pt x="757192" y="211980"/>
                  <a:pt x="758864" y="204166"/>
                </a:cubicBezTo>
                <a:lnTo>
                  <a:pt x="758864" y="124072"/>
                </a:lnTo>
                <a:cubicBezTo>
                  <a:pt x="755340" y="121333"/>
                  <a:pt x="751368" y="119224"/>
                  <a:pt x="747125" y="117839"/>
                </a:cubicBezTo>
                <a:cubicBezTo>
                  <a:pt x="741722" y="116310"/>
                  <a:pt x="736120" y="115609"/>
                  <a:pt x="730506" y="115762"/>
                </a:cubicBezTo>
                <a:close/>
                <a:moveTo>
                  <a:pt x="327108" y="114986"/>
                </a:moveTo>
                <a:cubicBezTo>
                  <a:pt x="315978" y="114513"/>
                  <a:pt x="305340" y="119619"/>
                  <a:pt x="298750" y="128602"/>
                </a:cubicBezTo>
                <a:cubicBezTo>
                  <a:pt x="291942" y="137680"/>
                  <a:pt x="288538" y="152548"/>
                  <a:pt x="288538" y="173204"/>
                </a:cubicBezTo>
                <a:cubicBezTo>
                  <a:pt x="288476" y="180956"/>
                  <a:pt x="289239" y="188692"/>
                  <a:pt x="290816" y="196281"/>
                </a:cubicBezTo>
                <a:cubicBezTo>
                  <a:pt x="292117" y="202766"/>
                  <a:pt x="294405" y="209011"/>
                  <a:pt x="297599" y="214803"/>
                </a:cubicBezTo>
                <a:cubicBezTo>
                  <a:pt x="300410" y="219884"/>
                  <a:pt x="304522" y="224126"/>
                  <a:pt x="309513" y="227092"/>
                </a:cubicBezTo>
                <a:cubicBezTo>
                  <a:pt x="314854" y="230093"/>
                  <a:pt x="320909" y="231600"/>
                  <a:pt x="327033" y="231447"/>
                </a:cubicBezTo>
                <a:cubicBezTo>
                  <a:pt x="339898" y="231447"/>
                  <a:pt x="349477" y="226784"/>
                  <a:pt x="355767" y="217456"/>
                </a:cubicBezTo>
                <a:lnTo>
                  <a:pt x="355842" y="217456"/>
                </a:lnTo>
                <a:cubicBezTo>
                  <a:pt x="362149" y="208145"/>
                  <a:pt x="365303" y="193396"/>
                  <a:pt x="365303" y="173204"/>
                </a:cubicBezTo>
                <a:cubicBezTo>
                  <a:pt x="365303" y="155834"/>
                  <a:pt x="362400" y="141785"/>
                  <a:pt x="356593" y="131055"/>
                </a:cubicBezTo>
                <a:cubicBezTo>
                  <a:pt x="350786" y="120325"/>
                  <a:pt x="340957" y="114969"/>
                  <a:pt x="327108" y="114986"/>
                </a:cubicBezTo>
                <a:close/>
                <a:moveTo>
                  <a:pt x="906262" y="73413"/>
                </a:moveTo>
                <a:cubicBezTo>
                  <a:pt x="919385" y="73265"/>
                  <a:pt x="932473" y="74797"/>
                  <a:pt x="945207" y="77968"/>
                </a:cubicBezTo>
                <a:cubicBezTo>
                  <a:pt x="954689" y="80168"/>
                  <a:pt x="963842" y="83592"/>
                  <a:pt x="972439" y="88155"/>
                </a:cubicBezTo>
                <a:lnTo>
                  <a:pt x="961477" y="123721"/>
                </a:lnTo>
                <a:cubicBezTo>
                  <a:pt x="955670" y="121436"/>
                  <a:pt x="948361" y="119041"/>
                  <a:pt x="939551" y="116538"/>
                </a:cubicBezTo>
                <a:cubicBezTo>
                  <a:pt x="930821" y="114020"/>
                  <a:pt x="921780" y="112738"/>
                  <a:pt x="912694" y="112734"/>
                </a:cubicBezTo>
                <a:cubicBezTo>
                  <a:pt x="905386" y="112734"/>
                  <a:pt x="899904" y="114152"/>
                  <a:pt x="896250" y="116989"/>
                </a:cubicBezTo>
                <a:lnTo>
                  <a:pt x="890833" y="129603"/>
                </a:lnTo>
                <a:lnTo>
                  <a:pt x="890819" y="129578"/>
                </a:lnTo>
                <a:lnTo>
                  <a:pt x="890769" y="129753"/>
                </a:lnTo>
                <a:lnTo>
                  <a:pt x="890833" y="129603"/>
                </a:lnTo>
                <a:lnTo>
                  <a:pt x="897226" y="140541"/>
                </a:lnTo>
                <a:cubicBezTo>
                  <a:pt x="902237" y="143680"/>
                  <a:pt x="907563" y="146280"/>
                  <a:pt x="913120" y="148300"/>
                </a:cubicBezTo>
                <a:cubicBezTo>
                  <a:pt x="919427" y="150703"/>
                  <a:pt x="926360" y="153288"/>
                  <a:pt x="933919" y="156059"/>
                </a:cubicBezTo>
                <a:cubicBezTo>
                  <a:pt x="941288" y="158735"/>
                  <a:pt x="948279" y="162352"/>
                  <a:pt x="954719" y="166822"/>
                </a:cubicBezTo>
                <a:cubicBezTo>
                  <a:pt x="961161" y="171390"/>
                  <a:pt x="966575" y="177256"/>
                  <a:pt x="970612" y="184042"/>
                </a:cubicBezTo>
                <a:cubicBezTo>
                  <a:pt x="974900" y="191100"/>
                  <a:pt x="977037" y="200168"/>
                  <a:pt x="977020" y="211249"/>
                </a:cubicBezTo>
                <a:cubicBezTo>
                  <a:pt x="977020" y="230421"/>
                  <a:pt x="970913" y="245439"/>
                  <a:pt x="958698" y="256301"/>
                </a:cubicBezTo>
                <a:cubicBezTo>
                  <a:pt x="946484" y="267164"/>
                  <a:pt x="928130" y="272653"/>
                  <a:pt x="903634" y="272771"/>
                </a:cubicBezTo>
                <a:cubicBezTo>
                  <a:pt x="890946" y="272881"/>
                  <a:pt x="878307" y="271197"/>
                  <a:pt x="866090" y="267765"/>
                </a:cubicBezTo>
                <a:cubicBezTo>
                  <a:pt x="856091" y="265084"/>
                  <a:pt x="846494" y="261077"/>
                  <a:pt x="837557" y="255851"/>
                </a:cubicBezTo>
                <a:lnTo>
                  <a:pt x="851122" y="219383"/>
                </a:lnTo>
                <a:cubicBezTo>
                  <a:pt x="858486" y="223316"/>
                  <a:pt x="866202" y="226542"/>
                  <a:pt x="874174" y="229020"/>
                </a:cubicBezTo>
                <a:cubicBezTo>
                  <a:pt x="883696" y="232156"/>
                  <a:pt x="893659" y="233743"/>
                  <a:pt x="903684" y="233725"/>
                </a:cubicBezTo>
                <a:cubicBezTo>
                  <a:pt x="909798" y="234016"/>
                  <a:pt x="915871" y="232576"/>
                  <a:pt x="921204" y="229570"/>
                </a:cubicBezTo>
                <a:cubicBezTo>
                  <a:pt x="925609" y="226817"/>
                  <a:pt x="927837" y="222061"/>
                  <a:pt x="927837" y="215604"/>
                </a:cubicBezTo>
                <a:cubicBezTo>
                  <a:pt x="927925" y="210726"/>
                  <a:pt x="925494" y="206148"/>
                  <a:pt x="921405" y="203490"/>
                </a:cubicBezTo>
                <a:cubicBezTo>
                  <a:pt x="916446" y="200116"/>
                  <a:pt x="911113" y="197327"/>
                  <a:pt x="905511" y="195180"/>
                </a:cubicBezTo>
                <a:cubicBezTo>
                  <a:pt x="899203" y="192660"/>
                  <a:pt x="892271" y="190074"/>
                  <a:pt x="884711" y="187421"/>
                </a:cubicBezTo>
                <a:cubicBezTo>
                  <a:pt x="877271" y="184845"/>
                  <a:pt x="870265" y="181149"/>
                  <a:pt x="863937" y="176458"/>
                </a:cubicBezTo>
                <a:cubicBezTo>
                  <a:pt x="857495" y="171667"/>
                  <a:pt x="852088" y="165623"/>
                  <a:pt x="848044" y="158687"/>
                </a:cubicBezTo>
                <a:cubicBezTo>
                  <a:pt x="843739" y="151496"/>
                  <a:pt x="841593" y="142226"/>
                  <a:pt x="841611" y="130880"/>
                </a:cubicBezTo>
                <a:cubicBezTo>
                  <a:pt x="841611" y="112240"/>
                  <a:pt x="847160" y="97999"/>
                  <a:pt x="858256" y="88155"/>
                </a:cubicBezTo>
                <a:cubicBezTo>
                  <a:pt x="869351" y="78311"/>
                  <a:pt x="885355" y="73395"/>
                  <a:pt x="906262" y="73413"/>
                </a:cubicBezTo>
                <a:close/>
                <a:moveTo>
                  <a:pt x="548993" y="73413"/>
                </a:moveTo>
                <a:cubicBezTo>
                  <a:pt x="557488" y="73285"/>
                  <a:pt x="565946" y="74561"/>
                  <a:pt x="574023" y="77192"/>
                </a:cubicBezTo>
                <a:cubicBezTo>
                  <a:pt x="581199" y="79645"/>
                  <a:pt x="587591" y="83965"/>
                  <a:pt x="592544" y="89706"/>
                </a:cubicBezTo>
                <a:cubicBezTo>
                  <a:pt x="598111" y="96592"/>
                  <a:pt x="601993" y="104684"/>
                  <a:pt x="603883" y="113334"/>
                </a:cubicBezTo>
                <a:cubicBezTo>
                  <a:pt x="606623" y="125426"/>
                  <a:pt x="607892" y="137805"/>
                  <a:pt x="607662" y="150202"/>
                </a:cubicBezTo>
                <a:lnTo>
                  <a:pt x="607537" y="267665"/>
                </a:lnTo>
                <a:lnTo>
                  <a:pt x="558454" y="267665"/>
                </a:lnTo>
                <a:lnTo>
                  <a:pt x="558454" y="160314"/>
                </a:lnTo>
                <a:cubicBezTo>
                  <a:pt x="558454" y="144946"/>
                  <a:pt x="556252" y="133851"/>
                  <a:pt x="551847" y="127025"/>
                </a:cubicBezTo>
                <a:cubicBezTo>
                  <a:pt x="547442" y="120200"/>
                  <a:pt x="539933" y="116806"/>
                  <a:pt x="529320" y="116838"/>
                </a:cubicBezTo>
                <a:cubicBezTo>
                  <a:pt x="520723" y="116585"/>
                  <a:pt x="512325" y="119469"/>
                  <a:pt x="505693" y="124948"/>
                </a:cubicBezTo>
                <a:cubicBezTo>
                  <a:pt x="499318" y="130291"/>
                  <a:pt x="494537" y="137290"/>
                  <a:pt x="491876" y="145171"/>
                </a:cubicBezTo>
                <a:lnTo>
                  <a:pt x="491876" y="267690"/>
                </a:lnTo>
                <a:lnTo>
                  <a:pt x="442744" y="267690"/>
                </a:lnTo>
                <a:lnTo>
                  <a:pt x="442744" y="78644"/>
                </a:lnTo>
                <a:lnTo>
                  <a:pt x="481689" y="78644"/>
                </a:lnTo>
                <a:lnTo>
                  <a:pt x="487371" y="103673"/>
                </a:lnTo>
                <a:lnTo>
                  <a:pt x="488873" y="103673"/>
                </a:lnTo>
                <a:cubicBezTo>
                  <a:pt x="495123" y="95188"/>
                  <a:pt x="502959" y="87997"/>
                  <a:pt x="511950" y="82498"/>
                </a:cubicBezTo>
                <a:cubicBezTo>
                  <a:pt x="521529" y="76441"/>
                  <a:pt x="533876" y="73413"/>
                  <a:pt x="548993" y="73413"/>
                </a:cubicBezTo>
                <a:close/>
                <a:moveTo>
                  <a:pt x="327008" y="73337"/>
                </a:moveTo>
                <a:cubicBezTo>
                  <a:pt x="340467" y="73027"/>
                  <a:pt x="353850" y="75472"/>
                  <a:pt x="366329" y="80521"/>
                </a:cubicBezTo>
                <a:cubicBezTo>
                  <a:pt x="376964" y="85021"/>
                  <a:pt x="386395" y="91957"/>
                  <a:pt x="393862" y="100769"/>
                </a:cubicBezTo>
                <a:cubicBezTo>
                  <a:pt x="401535" y="110020"/>
                  <a:pt x="407195" y="120770"/>
                  <a:pt x="410481" y="132331"/>
                </a:cubicBezTo>
                <a:cubicBezTo>
                  <a:pt x="414261" y="145604"/>
                  <a:pt x="416108" y="159353"/>
                  <a:pt x="415963" y="173154"/>
                </a:cubicBezTo>
                <a:lnTo>
                  <a:pt x="415812" y="173154"/>
                </a:lnTo>
                <a:cubicBezTo>
                  <a:pt x="415812" y="205192"/>
                  <a:pt x="408061" y="229838"/>
                  <a:pt x="392560" y="247091"/>
                </a:cubicBezTo>
                <a:cubicBezTo>
                  <a:pt x="377059" y="264343"/>
                  <a:pt x="355191" y="272978"/>
                  <a:pt x="326958" y="272996"/>
                </a:cubicBezTo>
                <a:cubicBezTo>
                  <a:pt x="313565" y="273279"/>
                  <a:pt x="300257" y="270834"/>
                  <a:pt x="287837" y="265813"/>
                </a:cubicBezTo>
                <a:cubicBezTo>
                  <a:pt x="277137" y="261300"/>
                  <a:pt x="267621" y="254379"/>
                  <a:pt x="260030" y="245589"/>
                </a:cubicBezTo>
                <a:cubicBezTo>
                  <a:pt x="252308" y="236361"/>
                  <a:pt x="246642" y="225593"/>
                  <a:pt x="243410" y="214002"/>
                </a:cubicBezTo>
                <a:cubicBezTo>
                  <a:pt x="239576" y="200729"/>
                  <a:pt x="237679" y="186970"/>
                  <a:pt x="237779" y="173154"/>
                </a:cubicBezTo>
                <a:cubicBezTo>
                  <a:pt x="237779" y="141167"/>
                  <a:pt x="245588" y="116530"/>
                  <a:pt x="261206" y="99243"/>
                </a:cubicBezTo>
                <a:cubicBezTo>
                  <a:pt x="276825" y="81955"/>
                  <a:pt x="298758" y="73320"/>
                  <a:pt x="327008" y="73337"/>
                </a:cubicBezTo>
                <a:close/>
                <a:moveTo>
                  <a:pt x="758864" y="3005"/>
                </a:moveTo>
                <a:lnTo>
                  <a:pt x="808022" y="3005"/>
                </a:lnTo>
                <a:lnTo>
                  <a:pt x="808022" y="201137"/>
                </a:lnTo>
                <a:cubicBezTo>
                  <a:pt x="808022" y="211750"/>
                  <a:pt x="808022" y="222312"/>
                  <a:pt x="808397" y="232924"/>
                </a:cubicBezTo>
                <a:cubicBezTo>
                  <a:pt x="808763" y="244666"/>
                  <a:pt x="809899" y="256372"/>
                  <a:pt x="811801" y="267965"/>
                </a:cubicBezTo>
                <a:lnTo>
                  <a:pt x="811726" y="268040"/>
                </a:lnTo>
                <a:lnTo>
                  <a:pt x="776685" y="268040"/>
                </a:lnTo>
                <a:lnTo>
                  <a:pt x="769877" y="243462"/>
                </a:lnTo>
                <a:lnTo>
                  <a:pt x="768400" y="243462"/>
                </a:lnTo>
                <a:cubicBezTo>
                  <a:pt x="763224" y="252429"/>
                  <a:pt x="755705" y="259818"/>
                  <a:pt x="746650" y="264837"/>
                </a:cubicBezTo>
                <a:cubicBezTo>
                  <a:pt x="736405" y="270446"/>
                  <a:pt x="724862" y="273252"/>
                  <a:pt x="713186" y="272971"/>
                </a:cubicBezTo>
                <a:cubicBezTo>
                  <a:pt x="689475" y="272971"/>
                  <a:pt x="671069" y="265154"/>
                  <a:pt x="657971" y="249519"/>
                </a:cubicBezTo>
                <a:cubicBezTo>
                  <a:pt x="644873" y="233883"/>
                  <a:pt x="638298" y="209439"/>
                  <a:pt x="638248" y="176183"/>
                </a:cubicBezTo>
                <a:cubicBezTo>
                  <a:pt x="638248" y="143927"/>
                  <a:pt x="645564" y="118848"/>
                  <a:pt x="660199" y="100945"/>
                </a:cubicBezTo>
                <a:cubicBezTo>
                  <a:pt x="674833" y="83041"/>
                  <a:pt x="696248" y="74131"/>
                  <a:pt x="724449" y="74213"/>
                </a:cubicBezTo>
                <a:cubicBezTo>
                  <a:pt x="730899" y="74111"/>
                  <a:pt x="737349" y="74564"/>
                  <a:pt x="743721" y="75565"/>
                </a:cubicBezTo>
                <a:cubicBezTo>
                  <a:pt x="748907" y="76471"/>
                  <a:pt x="753983" y="77923"/>
                  <a:pt x="758864" y="79895"/>
                </a:cubicBezTo>
                <a:close/>
                <a:moveTo>
                  <a:pt x="198107" y="1"/>
                </a:moveTo>
                <a:cubicBezTo>
                  <a:pt x="218281" y="1"/>
                  <a:pt x="235051" y="2397"/>
                  <a:pt x="248416" y="7185"/>
                </a:cubicBezTo>
                <a:lnTo>
                  <a:pt x="248516" y="7185"/>
                </a:lnTo>
                <a:lnTo>
                  <a:pt x="239055" y="46506"/>
                </a:lnTo>
                <a:cubicBezTo>
                  <a:pt x="234087" y="44694"/>
                  <a:pt x="228958" y="43360"/>
                  <a:pt x="223737" y="42526"/>
                </a:cubicBezTo>
                <a:cubicBezTo>
                  <a:pt x="219169" y="41886"/>
                  <a:pt x="214559" y="41568"/>
                  <a:pt x="209946" y="41575"/>
                </a:cubicBezTo>
                <a:cubicBezTo>
                  <a:pt x="205851" y="41387"/>
                  <a:pt x="201769" y="42166"/>
                  <a:pt x="198032" y="43853"/>
                </a:cubicBezTo>
                <a:cubicBezTo>
                  <a:pt x="195134" y="45365"/>
                  <a:pt x="192859" y="47845"/>
                  <a:pt x="191600" y="50861"/>
                </a:cubicBezTo>
                <a:cubicBezTo>
                  <a:pt x="190063" y="54588"/>
                  <a:pt x="189164" y="58548"/>
                  <a:pt x="188947" y="62575"/>
                </a:cubicBezTo>
                <a:cubicBezTo>
                  <a:pt x="188564" y="67230"/>
                  <a:pt x="188371" y="72586"/>
                  <a:pt x="188371" y="78644"/>
                </a:cubicBezTo>
                <a:lnTo>
                  <a:pt x="229970" y="78644"/>
                </a:lnTo>
                <a:lnTo>
                  <a:pt x="229970" y="120217"/>
                </a:lnTo>
                <a:lnTo>
                  <a:pt x="188371" y="120217"/>
                </a:lnTo>
                <a:lnTo>
                  <a:pt x="188371" y="243236"/>
                </a:lnTo>
                <a:cubicBezTo>
                  <a:pt x="188371" y="264661"/>
                  <a:pt x="172752" y="280104"/>
                  <a:pt x="172752" y="280104"/>
                </a:cubicBezTo>
                <a:cubicBezTo>
                  <a:pt x="164833" y="275985"/>
                  <a:pt x="156423" y="272889"/>
                  <a:pt x="147723" y="270894"/>
                </a:cubicBezTo>
                <a:cubicBezTo>
                  <a:pt x="137539" y="268671"/>
                  <a:pt x="127137" y="267597"/>
                  <a:pt x="116712" y="267690"/>
                </a:cubicBezTo>
                <a:cubicBezTo>
                  <a:pt x="110690" y="267522"/>
                  <a:pt x="104683" y="268368"/>
                  <a:pt x="98941" y="270193"/>
                </a:cubicBezTo>
                <a:cubicBezTo>
                  <a:pt x="94814" y="271559"/>
                  <a:pt x="91150" y="274047"/>
                  <a:pt x="88354" y="277376"/>
                </a:cubicBezTo>
                <a:cubicBezTo>
                  <a:pt x="85670" y="280840"/>
                  <a:pt x="83946" y="284950"/>
                  <a:pt x="83348" y="289290"/>
                </a:cubicBezTo>
                <a:cubicBezTo>
                  <a:pt x="82554" y="294669"/>
                  <a:pt x="82179" y="300098"/>
                  <a:pt x="82221" y="305534"/>
                </a:cubicBezTo>
                <a:lnTo>
                  <a:pt x="188471" y="305534"/>
                </a:lnTo>
                <a:lnTo>
                  <a:pt x="188471" y="494606"/>
                </a:lnTo>
                <a:lnTo>
                  <a:pt x="139439" y="494606"/>
                </a:lnTo>
                <a:lnTo>
                  <a:pt x="139439" y="347033"/>
                </a:lnTo>
                <a:lnTo>
                  <a:pt x="82347" y="347033"/>
                </a:lnTo>
                <a:lnTo>
                  <a:pt x="82347" y="494506"/>
                </a:lnTo>
                <a:lnTo>
                  <a:pt x="33189" y="494506"/>
                </a:lnTo>
                <a:lnTo>
                  <a:pt x="33189" y="347033"/>
                </a:lnTo>
                <a:lnTo>
                  <a:pt x="0" y="347033"/>
                </a:lnTo>
                <a:lnTo>
                  <a:pt x="0" y="305484"/>
                </a:lnTo>
                <a:lnTo>
                  <a:pt x="33189" y="305484"/>
                </a:lnTo>
                <a:lnTo>
                  <a:pt x="33189" y="294897"/>
                </a:lnTo>
                <a:cubicBezTo>
                  <a:pt x="33189" y="270969"/>
                  <a:pt x="39364" y="253516"/>
                  <a:pt x="51711" y="242535"/>
                </a:cubicBezTo>
                <a:cubicBezTo>
                  <a:pt x="64058" y="231555"/>
                  <a:pt x="81954" y="226074"/>
                  <a:pt x="105399" y="226091"/>
                </a:cubicBezTo>
                <a:cubicBezTo>
                  <a:pt x="116709" y="226051"/>
                  <a:pt x="128010" y="226719"/>
                  <a:pt x="139238" y="228094"/>
                </a:cubicBezTo>
                <a:lnTo>
                  <a:pt x="139238" y="120217"/>
                </a:lnTo>
                <a:lnTo>
                  <a:pt x="113133" y="120217"/>
                </a:lnTo>
                <a:lnTo>
                  <a:pt x="113133" y="78644"/>
                </a:lnTo>
                <a:lnTo>
                  <a:pt x="139238" y="78644"/>
                </a:lnTo>
                <a:lnTo>
                  <a:pt x="139238" y="68056"/>
                </a:lnTo>
                <a:cubicBezTo>
                  <a:pt x="139238" y="44110"/>
                  <a:pt x="144244" y="26775"/>
                  <a:pt x="154256" y="16045"/>
                </a:cubicBezTo>
                <a:cubicBezTo>
                  <a:pt x="164268" y="5315"/>
                  <a:pt x="178885" y="-31"/>
                  <a:pt x="198107" y="1"/>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80000" tIns="144000" rIns="180000" bIns="144000" rtlCol="0" anchor="t">
            <a:noAutofit/>
          </a:bodyPr>
          <a:lstStyle/>
          <a:p>
            <a:pPr algn="l"/>
            <a:endParaRPr lang="de-DE" sz="1600" dirty="0" err="1">
              <a:solidFill>
                <a:schemeClr val="bg1"/>
              </a:solidFill>
            </a:endParaRPr>
          </a:p>
        </p:txBody>
      </p:sp>
    </p:spTree>
    <p:extLst>
      <p:ext uri="{BB962C8B-B14F-4D97-AF65-F5344CB8AC3E}">
        <p14:creationId xmlns:p14="http://schemas.microsoft.com/office/powerpoint/2010/main" val="2271016250"/>
      </p:ext>
    </p:extLst>
  </p:cSld>
  <p:clrMapOvr>
    <a:masterClrMapping/>
  </p:clrMapOvr>
  <p:extLst>
    <p:ext uri="{DCECCB84-F9BA-43D5-87BE-67443E8EF086}">
      <p15:sldGuideLst xmlns:p15="http://schemas.microsoft.com/office/powerpoint/2012/main">
        <p15:guide id="1" pos="3704" userDrawn="1">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Schlussfolie ">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01E98D16-7064-413E-90AB-794918023785}"/>
              </a:ext>
            </a:extLst>
          </p:cNvPr>
          <p:cNvGraphicFramePr>
            <a:graphicFrameLocks noChangeAspect="1"/>
          </p:cNvGraphicFramePr>
          <p:nvPr userDrawn="1">
            <p:custDataLst>
              <p:tags r:id="rId1"/>
            </p:custDataLst>
            <p:extLst>
              <p:ext uri="{D42A27DB-BD31-4B8C-83A1-F6EECF244321}">
                <p14:modId xmlns:p14="http://schemas.microsoft.com/office/powerpoint/2010/main" val="37566248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5" name="Objekt 4" hidden="1">
                        <a:extLst>
                          <a:ext uri="{FF2B5EF4-FFF2-40B4-BE49-F238E27FC236}">
                            <a16:creationId xmlns:a16="http://schemas.microsoft.com/office/drawing/2014/main" id="{01E98D16-7064-413E-90AB-79491802378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Rechteck 15">
            <a:extLst>
              <a:ext uri="{FF2B5EF4-FFF2-40B4-BE49-F238E27FC236}">
                <a16:creationId xmlns:a16="http://schemas.microsoft.com/office/drawing/2014/main" id="{0C2A6393-2D0C-48A5-949A-F8459F9CCB0F}"/>
              </a:ext>
            </a:extLst>
          </p:cNvPr>
          <p:cNvSpPr>
            <a:spLocks/>
          </p:cNvSpPr>
          <p:nvPr userDrawn="1"/>
        </p:nvSpPr>
        <p:spPr bwMode="gray">
          <a:xfrm>
            <a:off x="200439" y="2558374"/>
            <a:ext cx="7153671" cy="4087923"/>
          </a:xfrm>
          <a:prstGeom prst="rect">
            <a:avLst/>
          </a:prstGeom>
          <a:solidFill>
            <a:srgbClr val="2F4D72"/>
          </a:solidFill>
          <a:ln w="9525" cap="flat">
            <a:noFill/>
            <a:prstDash val="solid"/>
            <a:miter/>
          </a:ln>
        </p:spPr>
        <p:txBody>
          <a:bodyPr wrap="square" rtlCol="0" anchor="ctr">
            <a:noAutofit/>
          </a:bodyPr>
          <a:lstStyle/>
          <a:p>
            <a:pPr rtl="0"/>
            <a:endParaRPr lang="de-DE" noProof="0" dirty="0">
              <a:solidFill>
                <a:schemeClr val="bg1"/>
              </a:solidFill>
            </a:endParaRPr>
          </a:p>
        </p:txBody>
      </p:sp>
      <p:sp>
        <p:nvSpPr>
          <p:cNvPr id="14" name="Bildplatzhalter 13">
            <a:extLst>
              <a:ext uri="{FF2B5EF4-FFF2-40B4-BE49-F238E27FC236}">
                <a16:creationId xmlns:a16="http://schemas.microsoft.com/office/drawing/2014/main" id="{2F9C7F57-C5DA-438B-98AD-BDE6CF7FE9FF}"/>
              </a:ext>
            </a:extLst>
          </p:cNvPr>
          <p:cNvSpPr>
            <a:spLocks noGrp="1"/>
          </p:cNvSpPr>
          <p:nvPr>
            <p:ph type="pic" sz="quarter" idx="14" hasCustomPrompt="1"/>
          </p:nvPr>
        </p:nvSpPr>
        <p:spPr bwMode="gray">
          <a:xfrm>
            <a:off x="200438" y="211702"/>
            <a:ext cx="11791121" cy="6434593"/>
          </a:xfrm>
          <a:custGeom>
            <a:avLst/>
            <a:gdLst>
              <a:gd name="connsiteX0" fmla="*/ 11431877 w 11791121"/>
              <a:gd name="connsiteY0" fmla="*/ 251034 h 6434593"/>
              <a:gd name="connsiteX1" fmla="*/ 10467022 w 11791121"/>
              <a:gd name="connsiteY1" fmla="*/ 411772 h 6434593"/>
              <a:gd name="connsiteX2" fmla="*/ 10298349 w 11791121"/>
              <a:gd name="connsiteY2" fmla="*/ 551410 h 6434593"/>
              <a:gd name="connsiteX3" fmla="*/ 10102195 w 11791121"/>
              <a:gd name="connsiteY3" fmla="*/ 1068040 h 6434593"/>
              <a:gd name="connsiteX4" fmla="*/ 10166670 w 11791121"/>
              <a:gd name="connsiteY4" fmla="*/ 1157996 h 6434593"/>
              <a:gd name="connsiteX5" fmla="*/ 11186765 w 11791121"/>
              <a:gd name="connsiteY5" fmla="*/ 1120777 h 6434593"/>
              <a:gd name="connsiteX6" fmla="*/ 11337442 w 11791121"/>
              <a:gd name="connsiteY6" fmla="*/ 1003465 h 6434593"/>
              <a:gd name="connsiteX7" fmla="*/ 11510845 w 11791121"/>
              <a:gd name="connsiteY7" fmla="*/ 340664 h 6434593"/>
              <a:gd name="connsiteX8" fmla="*/ 11431827 w 11791121"/>
              <a:gd name="connsiteY8" fmla="*/ 251109 h 6434593"/>
              <a:gd name="connsiteX9" fmla="*/ 0 w 11791121"/>
              <a:gd name="connsiteY9" fmla="*/ 0 h 6434593"/>
              <a:gd name="connsiteX10" fmla="*/ 11791121 w 11791121"/>
              <a:gd name="connsiteY10" fmla="*/ 0 h 6434593"/>
              <a:gd name="connsiteX11" fmla="*/ 11791121 w 11791121"/>
              <a:gd name="connsiteY11" fmla="*/ 6434593 h 6434593"/>
              <a:gd name="connsiteX12" fmla="*/ 7701171 w 11791121"/>
              <a:gd name="connsiteY12" fmla="*/ 6434593 h 6434593"/>
              <a:gd name="connsiteX13" fmla="*/ 6146929 w 11791121"/>
              <a:gd name="connsiteY13" fmla="*/ 6434593 h 6434593"/>
              <a:gd name="connsiteX14" fmla="*/ 5530091 w 11791121"/>
              <a:gd name="connsiteY14" fmla="*/ 6434593 h 6434593"/>
              <a:gd name="connsiteX15" fmla="*/ 5547474 w 11791121"/>
              <a:gd name="connsiteY15" fmla="*/ 6368220 h 6434593"/>
              <a:gd name="connsiteX16" fmla="*/ 6335981 w 11791121"/>
              <a:gd name="connsiteY16" fmla="*/ 3354612 h 6434593"/>
              <a:gd name="connsiteX17" fmla="*/ 6004041 w 11791121"/>
              <a:gd name="connsiteY17" fmla="*/ 2829103 h 6434593"/>
              <a:gd name="connsiteX18" fmla="*/ 5878759 w 11791121"/>
              <a:gd name="connsiteY18" fmla="*/ 2838065 h 6434593"/>
              <a:gd name="connsiteX19" fmla="*/ 300908 w 11791121"/>
              <a:gd name="connsiteY19" fmla="*/ 3766983 h 6434593"/>
              <a:gd name="connsiteX20" fmla="*/ 138770 w 11791121"/>
              <a:gd name="connsiteY20" fmla="*/ 3817936 h 6434593"/>
              <a:gd name="connsiteX21" fmla="*/ 2 w 11791121"/>
              <a:gd name="connsiteY21" fmla="*/ 3876402 h 6434593"/>
              <a:gd name="connsiteX22" fmla="*/ 2 w 11791121"/>
              <a:gd name="connsiteY22" fmla="*/ 6434593 h 6434593"/>
              <a:gd name="connsiteX23" fmla="*/ 0 w 11791121"/>
              <a:gd name="connsiteY23" fmla="*/ 6434593 h 6434593"/>
              <a:gd name="connsiteX24" fmla="*/ 0 w 11791121"/>
              <a:gd name="connsiteY24" fmla="*/ 2346670 h 64345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1791121" h="6434593">
                <a:moveTo>
                  <a:pt x="11431877" y="251034"/>
                </a:moveTo>
                <a:cubicBezTo>
                  <a:pt x="11369530" y="260720"/>
                  <a:pt x="10531773" y="394351"/>
                  <a:pt x="10467022" y="411772"/>
                </a:cubicBezTo>
                <a:cubicBezTo>
                  <a:pt x="10388855" y="432746"/>
                  <a:pt x="10337771" y="472843"/>
                  <a:pt x="10298349" y="551410"/>
                </a:cubicBezTo>
                <a:cubicBezTo>
                  <a:pt x="10258928" y="629977"/>
                  <a:pt x="10121092" y="1016480"/>
                  <a:pt x="10102195" y="1068040"/>
                </a:cubicBezTo>
                <a:cubicBezTo>
                  <a:pt x="10083298" y="1119601"/>
                  <a:pt x="10108827" y="1160298"/>
                  <a:pt x="10166670" y="1157996"/>
                </a:cubicBezTo>
                <a:cubicBezTo>
                  <a:pt x="10222135" y="1155718"/>
                  <a:pt x="11186765" y="1120777"/>
                  <a:pt x="11186765" y="1120777"/>
                </a:cubicBezTo>
                <a:cubicBezTo>
                  <a:pt x="11277722" y="1116697"/>
                  <a:pt x="11321924" y="1062884"/>
                  <a:pt x="11337442" y="1003465"/>
                </a:cubicBezTo>
                <a:cubicBezTo>
                  <a:pt x="11337442" y="1003465"/>
                  <a:pt x="11495127" y="401535"/>
                  <a:pt x="11510845" y="340664"/>
                </a:cubicBezTo>
                <a:cubicBezTo>
                  <a:pt x="11527189" y="277740"/>
                  <a:pt x="11493099" y="241597"/>
                  <a:pt x="11431827" y="251109"/>
                </a:cubicBezTo>
                <a:close/>
                <a:moveTo>
                  <a:pt x="0" y="0"/>
                </a:moveTo>
                <a:lnTo>
                  <a:pt x="11791121" y="0"/>
                </a:lnTo>
                <a:lnTo>
                  <a:pt x="11791121" y="6434593"/>
                </a:lnTo>
                <a:lnTo>
                  <a:pt x="7701171" y="6434593"/>
                </a:lnTo>
                <a:lnTo>
                  <a:pt x="6146929" y="6434593"/>
                </a:lnTo>
                <a:lnTo>
                  <a:pt x="5530091" y="6434593"/>
                </a:lnTo>
                <a:lnTo>
                  <a:pt x="5547474" y="6368220"/>
                </a:lnTo>
                <a:cubicBezTo>
                  <a:pt x="5822877" y="5316638"/>
                  <a:pt x="6273312" y="3596337"/>
                  <a:pt x="6335981" y="3354612"/>
                </a:cubicBezTo>
                <a:cubicBezTo>
                  <a:pt x="6418276" y="3035567"/>
                  <a:pt x="6277902" y="2836165"/>
                  <a:pt x="6004041" y="2829103"/>
                </a:cubicBezTo>
                <a:cubicBezTo>
                  <a:pt x="5964917" y="2828094"/>
                  <a:pt x="5923070" y="2831011"/>
                  <a:pt x="5878759" y="2838065"/>
                </a:cubicBezTo>
                <a:cubicBezTo>
                  <a:pt x="5518477" y="2893047"/>
                  <a:pt x="675658" y="3665699"/>
                  <a:pt x="300908" y="3766983"/>
                </a:cubicBezTo>
                <a:cubicBezTo>
                  <a:pt x="244479" y="3782175"/>
                  <a:pt x="190491" y="3799086"/>
                  <a:pt x="138770" y="3817936"/>
                </a:cubicBezTo>
                <a:lnTo>
                  <a:pt x="2" y="3876402"/>
                </a:lnTo>
                <a:lnTo>
                  <a:pt x="2" y="6434593"/>
                </a:lnTo>
                <a:lnTo>
                  <a:pt x="0" y="6434593"/>
                </a:lnTo>
                <a:lnTo>
                  <a:pt x="0" y="2346670"/>
                </a:lnTo>
                <a:close/>
              </a:path>
            </a:pathLst>
          </a:custGeom>
          <a:solidFill>
            <a:schemeClr val="bg2"/>
          </a:solidFill>
        </p:spPr>
        <p:txBody>
          <a:bodyPr wrap="square" lIns="108014" tIns="36005">
            <a:noAutofit/>
          </a:bodyPr>
          <a:lstStyle>
            <a:lvl1pPr>
              <a:spcAft>
                <a:spcPts val="0"/>
              </a:spcAft>
              <a:defRPr sz="1600" b="0">
                <a:sym typeface="Wingdings" panose="05000000000000000000" pitchFamily="2" charset="2"/>
              </a:defRPr>
            </a:lvl1pPr>
          </a:lstStyle>
          <a:p>
            <a:r>
              <a:rPr lang="de-DE" noProof="0" dirty="0"/>
              <a:t>Hier geht’s zur Bilder-Bibliothek:  Schnellzugriff  </a:t>
            </a:r>
            <a:r>
              <a:rPr lang="de-DE" noProof="0" dirty="0" err="1"/>
              <a:t>PPT_Bilder_Vorlagen</a:t>
            </a:r>
            <a:endParaRPr lang="de-DE" noProof="0" dirty="0"/>
          </a:p>
        </p:txBody>
      </p:sp>
      <p:sp>
        <p:nvSpPr>
          <p:cNvPr id="20" name="Freihandform: Form 19">
            <a:extLst>
              <a:ext uri="{FF2B5EF4-FFF2-40B4-BE49-F238E27FC236}">
                <a16:creationId xmlns:a16="http://schemas.microsoft.com/office/drawing/2014/main" id="{B8D31B4D-04C4-41BC-AD10-705DEFBC0106}"/>
              </a:ext>
            </a:extLst>
          </p:cNvPr>
          <p:cNvSpPr/>
          <p:nvPr userDrawn="1"/>
        </p:nvSpPr>
        <p:spPr>
          <a:xfrm>
            <a:off x="10296483" y="461303"/>
            <a:ext cx="1418877" cy="908488"/>
          </a:xfrm>
          <a:custGeom>
            <a:avLst/>
            <a:gdLst>
              <a:gd name="connsiteX0" fmla="*/ 1335832 w 1418877"/>
              <a:gd name="connsiteY0" fmla="*/ 1433 h 908488"/>
              <a:gd name="connsiteX1" fmla="*/ 1335782 w 1418877"/>
              <a:gd name="connsiteY1" fmla="*/ 1508 h 908488"/>
              <a:gd name="connsiteX2" fmla="*/ 1414800 w 1418877"/>
              <a:gd name="connsiteY2" fmla="*/ 91063 h 908488"/>
              <a:gd name="connsiteX3" fmla="*/ 1241397 w 1418877"/>
              <a:gd name="connsiteY3" fmla="*/ 753864 h 908488"/>
              <a:gd name="connsiteX4" fmla="*/ 1090720 w 1418877"/>
              <a:gd name="connsiteY4" fmla="*/ 871176 h 908488"/>
              <a:gd name="connsiteX5" fmla="*/ 70625 w 1418877"/>
              <a:gd name="connsiteY5" fmla="*/ 908395 h 908488"/>
              <a:gd name="connsiteX6" fmla="*/ 6150 w 1418877"/>
              <a:gd name="connsiteY6" fmla="*/ 818439 h 908488"/>
              <a:gd name="connsiteX7" fmla="*/ 202304 w 1418877"/>
              <a:gd name="connsiteY7" fmla="*/ 301809 h 908488"/>
              <a:gd name="connsiteX8" fmla="*/ 370977 w 1418877"/>
              <a:gd name="connsiteY8" fmla="*/ 162171 h 908488"/>
              <a:gd name="connsiteX9" fmla="*/ 1335832 w 1418877"/>
              <a:gd name="connsiteY9" fmla="*/ 1433 h 9084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18877" h="908488">
                <a:moveTo>
                  <a:pt x="1335832" y="1433"/>
                </a:moveTo>
                <a:lnTo>
                  <a:pt x="1335782" y="1508"/>
                </a:lnTo>
                <a:cubicBezTo>
                  <a:pt x="1397054" y="-8004"/>
                  <a:pt x="1431144" y="28139"/>
                  <a:pt x="1414800" y="91063"/>
                </a:cubicBezTo>
                <a:cubicBezTo>
                  <a:pt x="1399082" y="151934"/>
                  <a:pt x="1241397" y="753864"/>
                  <a:pt x="1241397" y="753864"/>
                </a:cubicBezTo>
                <a:cubicBezTo>
                  <a:pt x="1225879" y="813283"/>
                  <a:pt x="1181677" y="867096"/>
                  <a:pt x="1090720" y="871176"/>
                </a:cubicBezTo>
                <a:cubicBezTo>
                  <a:pt x="1090720" y="871176"/>
                  <a:pt x="126090" y="906117"/>
                  <a:pt x="70625" y="908395"/>
                </a:cubicBezTo>
                <a:cubicBezTo>
                  <a:pt x="12782" y="910697"/>
                  <a:pt x="-12747" y="870000"/>
                  <a:pt x="6150" y="818439"/>
                </a:cubicBezTo>
                <a:cubicBezTo>
                  <a:pt x="25047" y="766879"/>
                  <a:pt x="162883" y="380376"/>
                  <a:pt x="202304" y="301809"/>
                </a:cubicBezTo>
                <a:cubicBezTo>
                  <a:pt x="241726" y="223242"/>
                  <a:pt x="292810" y="183145"/>
                  <a:pt x="370977" y="162171"/>
                </a:cubicBezTo>
                <a:cubicBezTo>
                  <a:pt x="435728" y="144750"/>
                  <a:pt x="1273485" y="11119"/>
                  <a:pt x="1335832" y="1433"/>
                </a:cubicBezTo>
                <a:close/>
              </a:path>
            </a:pathLst>
          </a:custGeom>
          <a:solidFill>
            <a:schemeClr val="tx1"/>
          </a:solidFill>
          <a:ln w="19050" cap="flat">
            <a:solidFill>
              <a:schemeClr val="tx1"/>
            </a:solidFill>
            <a:prstDash val="solid"/>
            <a:miter/>
          </a:ln>
        </p:spPr>
        <p:txBody>
          <a:bodyPr wrap="square" rtlCol="0" anchor="ctr">
            <a:noAutofit/>
          </a:bodyPr>
          <a:lstStyle/>
          <a:p>
            <a:endParaRPr lang="de-DE"/>
          </a:p>
        </p:txBody>
      </p:sp>
      <p:sp>
        <p:nvSpPr>
          <p:cNvPr id="2" name="Titel 1">
            <a:extLst>
              <a:ext uri="{FF2B5EF4-FFF2-40B4-BE49-F238E27FC236}">
                <a16:creationId xmlns:a16="http://schemas.microsoft.com/office/drawing/2014/main" id="{5E46ADA1-AF22-413A-A734-CCC1D9AD7797}"/>
              </a:ext>
            </a:extLst>
          </p:cNvPr>
          <p:cNvSpPr>
            <a:spLocks noGrp="1"/>
          </p:cNvSpPr>
          <p:nvPr>
            <p:ph type="ctrTitle" hasCustomPrompt="1"/>
          </p:nvPr>
        </p:nvSpPr>
        <p:spPr bwMode="gray">
          <a:xfrm>
            <a:off x="1042286" y="4182990"/>
            <a:ext cx="4332989" cy="893771"/>
          </a:xfrm>
        </p:spPr>
        <p:txBody>
          <a:bodyPr vert="horz" anchor="t">
            <a:noAutofit/>
          </a:bodyPr>
          <a:lstStyle>
            <a:lvl1pPr algn="l" rtl="0">
              <a:lnSpc>
                <a:spcPct val="80000"/>
              </a:lnSpc>
              <a:spcBef>
                <a:spcPts val="0"/>
              </a:spcBef>
              <a:spcAft>
                <a:spcPts val="0"/>
              </a:spcAft>
              <a:defRPr sz="3600" b="1">
                <a:solidFill>
                  <a:schemeClr val="accent1"/>
                </a:solidFill>
              </a:defRPr>
            </a:lvl1pPr>
          </a:lstStyle>
          <a:p>
            <a:r>
              <a:rPr lang="de-DE" noProof="0" dirty="0"/>
              <a:t>Schlussformulierung,</a:t>
            </a:r>
            <a:br>
              <a:rPr lang="de-DE" noProof="0" dirty="0"/>
            </a:br>
            <a:r>
              <a:rPr lang="de-DE" noProof="0" dirty="0"/>
              <a:t>max. 2 Zeilen</a:t>
            </a:r>
          </a:p>
        </p:txBody>
      </p:sp>
      <p:sp>
        <p:nvSpPr>
          <p:cNvPr id="3" name="Untertitel 2">
            <a:extLst>
              <a:ext uri="{FF2B5EF4-FFF2-40B4-BE49-F238E27FC236}">
                <a16:creationId xmlns:a16="http://schemas.microsoft.com/office/drawing/2014/main" id="{258D0788-6273-4724-9B62-0B33B18BC6BD}"/>
              </a:ext>
            </a:extLst>
          </p:cNvPr>
          <p:cNvSpPr>
            <a:spLocks noGrp="1"/>
          </p:cNvSpPr>
          <p:nvPr>
            <p:ph type="subTitle" idx="1" hasCustomPrompt="1"/>
          </p:nvPr>
        </p:nvSpPr>
        <p:spPr bwMode="gray">
          <a:xfrm>
            <a:off x="1042285" y="5177005"/>
            <a:ext cx="4332988" cy="553998"/>
          </a:xfrm>
        </p:spPr>
        <p:txBody>
          <a:bodyPr>
            <a:noAutofit/>
          </a:bodyPr>
          <a:lstStyle>
            <a:lvl1pPr marL="0" indent="0" algn="l" rtl="0">
              <a:spcBef>
                <a:spcPts val="0"/>
              </a:spcBef>
              <a:spcAft>
                <a:spcPts val="0"/>
              </a:spcAft>
              <a:buNone/>
              <a:defRPr sz="1800" b="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noProof="0" dirty="0"/>
              <a:t>Untertitel, </a:t>
            </a:r>
            <a:br>
              <a:rPr lang="de-DE" noProof="0" dirty="0"/>
            </a:br>
            <a:r>
              <a:rPr lang="de-DE" noProof="0" dirty="0"/>
              <a:t>max. 2 Zeilen</a:t>
            </a:r>
          </a:p>
        </p:txBody>
      </p:sp>
      <p:sp>
        <p:nvSpPr>
          <p:cNvPr id="9" name="Textplatzhalter 8">
            <a:extLst>
              <a:ext uri="{FF2B5EF4-FFF2-40B4-BE49-F238E27FC236}">
                <a16:creationId xmlns:a16="http://schemas.microsoft.com/office/drawing/2014/main" id="{F963E73E-C3B7-4B41-882B-6480581EA544}"/>
              </a:ext>
            </a:extLst>
          </p:cNvPr>
          <p:cNvSpPr>
            <a:spLocks noGrp="1"/>
          </p:cNvSpPr>
          <p:nvPr>
            <p:ph type="body" sz="quarter" idx="13" hasCustomPrompt="1"/>
          </p:nvPr>
        </p:nvSpPr>
        <p:spPr bwMode="gray">
          <a:xfrm>
            <a:off x="1042286" y="5903220"/>
            <a:ext cx="4332988" cy="184666"/>
          </a:xfrm>
        </p:spPr>
        <p:txBody>
          <a:bodyPr>
            <a:noAutofit/>
          </a:bodyPr>
          <a:lstStyle>
            <a:lvl1pPr rtl="0">
              <a:spcBef>
                <a:spcPts val="0"/>
              </a:spcBef>
              <a:spcAft>
                <a:spcPts val="0"/>
              </a:spcAft>
              <a:defRPr sz="1200" b="0">
                <a:solidFill>
                  <a:schemeClr val="bg1"/>
                </a:solidFill>
              </a:defRPr>
            </a:lvl1pPr>
          </a:lstStyle>
          <a:p>
            <a:pPr lvl="0"/>
            <a:r>
              <a:rPr lang="de-DE" noProof="0" dirty="0"/>
              <a:t>Name, Abteilung | Ort, Datum</a:t>
            </a:r>
          </a:p>
        </p:txBody>
      </p:sp>
      <p:sp>
        <p:nvSpPr>
          <p:cNvPr id="13" name="Freihandform: Form 12">
            <a:extLst>
              <a:ext uri="{FF2B5EF4-FFF2-40B4-BE49-F238E27FC236}">
                <a16:creationId xmlns:a16="http://schemas.microsoft.com/office/drawing/2014/main" id="{6E926275-ED70-4B80-8456-79A6A955E83E}"/>
              </a:ext>
            </a:extLst>
          </p:cNvPr>
          <p:cNvSpPr/>
          <p:nvPr userDrawn="1"/>
        </p:nvSpPr>
        <p:spPr>
          <a:xfrm>
            <a:off x="10442163" y="762329"/>
            <a:ext cx="977020" cy="497591"/>
          </a:xfrm>
          <a:custGeom>
            <a:avLst/>
            <a:gdLst>
              <a:gd name="connsiteX0" fmla="*/ 514353 w 977020"/>
              <a:gd name="connsiteY0" fmla="*/ 411433 h 497591"/>
              <a:gd name="connsiteX1" fmla="*/ 495255 w 977020"/>
              <a:gd name="connsiteY1" fmla="*/ 414837 h 497591"/>
              <a:gd name="connsiteX2" fmla="*/ 482040 w 977020"/>
              <a:gd name="connsiteY2" fmla="*/ 422346 h 497591"/>
              <a:gd name="connsiteX3" fmla="*/ 477034 w 977020"/>
              <a:gd name="connsiteY3" fmla="*/ 434861 h 497591"/>
              <a:gd name="connsiteX4" fmla="*/ 483291 w 977020"/>
              <a:gd name="connsiteY4" fmla="*/ 451305 h 497591"/>
              <a:gd name="connsiteX5" fmla="*/ 500587 w 977020"/>
              <a:gd name="connsiteY5" fmla="*/ 457162 h 497591"/>
              <a:gd name="connsiteX6" fmla="*/ 524014 w 977020"/>
              <a:gd name="connsiteY6" fmla="*/ 450554 h 497591"/>
              <a:gd name="connsiteX7" fmla="*/ 536879 w 977020"/>
              <a:gd name="connsiteY7" fmla="*/ 436363 h 497591"/>
              <a:gd name="connsiteX8" fmla="*/ 536879 w 977020"/>
              <a:gd name="connsiteY8" fmla="*/ 411809 h 497591"/>
              <a:gd name="connsiteX9" fmla="*/ 514353 w 977020"/>
              <a:gd name="connsiteY9" fmla="*/ 411433 h 497591"/>
              <a:gd name="connsiteX10" fmla="*/ 823064 w 977020"/>
              <a:gd name="connsiteY10" fmla="*/ 305384 h 497591"/>
              <a:gd name="connsiteX11" fmla="*/ 971288 w 977020"/>
              <a:gd name="connsiteY11" fmla="*/ 305384 h 497591"/>
              <a:gd name="connsiteX12" fmla="*/ 971288 w 977020"/>
              <a:gd name="connsiteY12" fmla="*/ 347033 h 497591"/>
              <a:gd name="connsiteX13" fmla="*/ 897552 w 977020"/>
              <a:gd name="connsiteY13" fmla="*/ 438215 h 497591"/>
              <a:gd name="connsiteX14" fmla="*/ 878655 w 977020"/>
              <a:gd name="connsiteY14" fmla="*/ 452957 h 497591"/>
              <a:gd name="connsiteX15" fmla="*/ 971263 w 977020"/>
              <a:gd name="connsiteY15" fmla="*/ 452957 h 497591"/>
              <a:gd name="connsiteX16" fmla="*/ 971263 w 977020"/>
              <a:gd name="connsiteY16" fmla="*/ 494556 h 497591"/>
              <a:gd name="connsiteX17" fmla="*/ 823064 w 977020"/>
              <a:gd name="connsiteY17" fmla="*/ 494556 h 497591"/>
              <a:gd name="connsiteX18" fmla="*/ 823064 w 977020"/>
              <a:gd name="connsiteY18" fmla="*/ 452957 h 497591"/>
              <a:gd name="connsiteX19" fmla="*/ 897552 w 977020"/>
              <a:gd name="connsiteY19" fmla="*/ 363352 h 497591"/>
              <a:gd name="connsiteX20" fmla="*/ 916824 w 977020"/>
              <a:gd name="connsiteY20" fmla="*/ 347083 h 497591"/>
              <a:gd name="connsiteX21" fmla="*/ 823064 w 977020"/>
              <a:gd name="connsiteY21" fmla="*/ 347083 h 497591"/>
              <a:gd name="connsiteX22" fmla="*/ 517607 w 977020"/>
              <a:gd name="connsiteY22" fmla="*/ 301705 h 497591"/>
              <a:gd name="connsiteX23" fmla="*/ 550495 w 977020"/>
              <a:gd name="connsiteY23" fmla="*/ 306435 h 497591"/>
              <a:gd name="connsiteX24" fmla="*/ 582457 w 977020"/>
              <a:gd name="connsiteY24" fmla="*/ 340650 h 497591"/>
              <a:gd name="connsiteX25" fmla="*/ 585686 w 977020"/>
              <a:gd name="connsiteY25" fmla="*/ 367882 h 497591"/>
              <a:gd name="connsiteX26" fmla="*/ 584535 w 977020"/>
              <a:gd name="connsiteY26" fmla="*/ 401346 h 497591"/>
              <a:gd name="connsiteX27" fmla="*/ 583183 w 977020"/>
              <a:gd name="connsiteY27" fmla="*/ 434435 h 497591"/>
              <a:gd name="connsiteX28" fmla="*/ 584109 w 977020"/>
              <a:gd name="connsiteY28" fmla="*/ 465997 h 497591"/>
              <a:gd name="connsiteX29" fmla="*/ 589791 w 977020"/>
              <a:gd name="connsiteY29" fmla="*/ 494931 h 497591"/>
              <a:gd name="connsiteX30" fmla="*/ 549744 w 977020"/>
              <a:gd name="connsiteY30" fmla="*/ 494931 h 497591"/>
              <a:gd name="connsiteX31" fmla="*/ 541785 w 977020"/>
              <a:gd name="connsiteY31" fmla="*/ 468851 h 497591"/>
              <a:gd name="connsiteX32" fmla="*/ 539908 w 977020"/>
              <a:gd name="connsiteY32" fmla="*/ 468851 h 497591"/>
              <a:gd name="connsiteX33" fmla="*/ 518933 w 977020"/>
              <a:gd name="connsiteY33" fmla="*/ 489074 h 497591"/>
              <a:gd name="connsiteX34" fmla="*/ 484317 w 977020"/>
              <a:gd name="connsiteY34" fmla="*/ 497584 h 497591"/>
              <a:gd name="connsiteX35" fmla="*/ 460490 w 977020"/>
              <a:gd name="connsiteY35" fmla="*/ 493605 h 497591"/>
              <a:gd name="connsiteX36" fmla="*/ 430505 w 977020"/>
              <a:gd name="connsiteY36" fmla="*/ 464871 h 497591"/>
              <a:gd name="connsiteX37" fmla="*/ 426350 w 977020"/>
              <a:gd name="connsiteY37" fmla="*/ 442345 h 497591"/>
              <a:gd name="connsiteX38" fmla="*/ 434084 w 977020"/>
              <a:gd name="connsiteY38" fmla="*/ 413035 h 497591"/>
              <a:gd name="connsiteX39" fmla="*/ 456410 w 977020"/>
              <a:gd name="connsiteY39" fmla="*/ 393763 h 497591"/>
              <a:gd name="connsiteX40" fmla="*/ 491201 w 977020"/>
              <a:gd name="connsiteY40" fmla="*/ 383551 h 497591"/>
              <a:gd name="connsiteX41" fmla="*/ 536378 w 977020"/>
              <a:gd name="connsiteY41" fmla="*/ 381849 h 497591"/>
              <a:gd name="connsiteX42" fmla="*/ 533350 w 977020"/>
              <a:gd name="connsiteY42" fmla="*/ 351413 h 497591"/>
              <a:gd name="connsiteX43" fmla="*/ 533475 w 977020"/>
              <a:gd name="connsiteY43" fmla="*/ 351438 h 497591"/>
              <a:gd name="connsiteX44" fmla="*/ 508145 w 977020"/>
              <a:gd name="connsiteY44" fmla="*/ 342177 h 497591"/>
              <a:gd name="connsiteX45" fmla="*/ 476959 w 977020"/>
              <a:gd name="connsiteY45" fmla="*/ 345206 h 497591"/>
              <a:gd name="connsiteX46" fmla="*/ 449902 w 977020"/>
              <a:gd name="connsiteY46" fmla="*/ 353140 h 497591"/>
              <a:gd name="connsiteX47" fmla="*/ 438189 w 977020"/>
              <a:gd name="connsiteY47" fmla="*/ 316472 h 497591"/>
              <a:gd name="connsiteX48" fmla="*/ 474105 w 977020"/>
              <a:gd name="connsiteY48" fmla="*/ 305684 h 497591"/>
              <a:gd name="connsiteX49" fmla="*/ 517607 w 977020"/>
              <a:gd name="connsiteY49" fmla="*/ 301705 h 497591"/>
              <a:gd name="connsiteX50" fmla="*/ 339448 w 977020"/>
              <a:gd name="connsiteY50" fmla="*/ 300253 h 497591"/>
              <a:gd name="connsiteX51" fmla="*/ 364477 w 977020"/>
              <a:gd name="connsiteY51" fmla="*/ 304032 h 497591"/>
              <a:gd name="connsiteX52" fmla="*/ 383024 w 977020"/>
              <a:gd name="connsiteY52" fmla="*/ 316547 h 497591"/>
              <a:gd name="connsiteX53" fmla="*/ 394362 w 977020"/>
              <a:gd name="connsiteY53" fmla="*/ 340175 h 497591"/>
              <a:gd name="connsiteX54" fmla="*/ 397966 w 977020"/>
              <a:gd name="connsiteY54" fmla="*/ 377068 h 497591"/>
              <a:gd name="connsiteX55" fmla="*/ 397966 w 977020"/>
              <a:gd name="connsiteY55" fmla="*/ 494706 h 497591"/>
              <a:gd name="connsiteX56" fmla="*/ 348909 w 977020"/>
              <a:gd name="connsiteY56" fmla="*/ 494706 h 497591"/>
              <a:gd name="connsiteX57" fmla="*/ 348909 w 977020"/>
              <a:gd name="connsiteY57" fmla="*/ 387080 h 497591"/>
              <a:gd name="connsiteX58" fmla="*/ 342276 w 977020"/>
              <a:gd name="connsiteY58" fmla="*/ 353816 h 497591"/>
              <a:gd name="connsiteX59" fmla="*/ 319750 w 977020"/>
              <a:gd name="connsiteY59" fmla="*/ 343604 h 497591"/>
              <a:gd name="connsiteX60" fmla="*/ 296097 w 977020"/>
              <a:gd name="connsiteY60" fmla="*/ 351738 h 497591"/>
              <a:gd name="connsiteX61" fmla="*/ 282306 w 977020"/>
              <a:gd name="connsiteY61" fmla="*/ 371962 h 497591"/>
              <a:gd name="connsiteX62" fmla="*/ 282306 w 977020"/>
              <a:gd name="connsiteY62" fmla="*/ 494481 h 497591"/>
              <a:gd name="connsiteX63" fmla="*/ 233198 w 977020"/>
              <a:gd name="connsiteY63" fmla="*/ 494481 h 497591"/>
              <a:gd name="connsiteX64" fmla="*/ 233198 w 977020"/>
              <a:gd name="connsiteY64" fmla="*/ 305484 h 497591"/>
              <a:gd name="connsiteX65" fmla="*/ 272144 w 977020"/>
              <a:gd name="connsiteY65" fmla="*/ 305484 h 497591"/>
              <a:gd name="connsiteX66" fmla="*/ 277826 w 977020"/>
              <a:gd name="connsiteY66" fmla="*/ 330514 h 497591"/>
              <a:gd name="connsiteX67" fmla="*/ 279327 w 977020"/>
              <a:gd name="connsiteY67" fmla="*/ 330514 h 497591"/>
              <a:gd name="connsiteX68" fmla="*/ 302404 w 977020"/>
              <a:gd name="connsiteY68" fmla="*/ 309339 h 497591"/>
              <a:gd name="connsiteX69" fmla="*/ 339448 w 977020"/>
              <a:gd name="connsiteY69" fmla="*/ 300253 h 497591"/>
              <a:gd name="connsiteX70" fmla="*/ 733109 w 977020"/>
              <a:gd name="connsiteY70" fmla="*/ 300228 h 497591"/>
              <a:gd name="connsiteX71" fmla="*/ 758138 w 977020"/>
              <a:gd name="connsiteY71" fmla="*/ 304007 h 497591"/>
              <a:gd name="connsiteX72" fmla="*/ 776685 w 977020"/>
              <a:gd name="connsiteY72" fmla="*/ 316522 h 497591"/>
              <a:gd name="connsiteX73" fmla="*/ 788023 w 977020"/>
              <a:gd name="connsiteY73" fmla="*/ 340150 h 497591"/>
              <a:gd name="connsiteX74" fmla="*/ 791678 w 977020"/>
              <a:gd name="connsiteY74" fmla="*/ 377068 h 497591"/>
              <a:gd name="connsiteX75" fmla="*/ 791678 w 977020"/>
              <a:gd name="connsiteY75" fmla="*/ 494706 h 497591"/>
              <a:gd name="connsiteX76" fmla="*/ 742520 w 977020"/>
              <a:gd name="connsiteY76" fmla="*/ 494706 h 497591"/>
              <a:gd name="connsiteX77" fmla="*/ 742520 w 977020"/>
              <a:gd name="connsiteY77" fmla="*/ 387080 h 497591"/>
              <a:gd name="connsiteX78" fmla="*/ 735912 w 977020"/>
              <a:gd name="connsiteY78" fmla="*/ 353816 h 497591"/>
              <a:gd name="connsiteX79" fmla="*/ 713386 w 977020"/>
              <a:gd name="connsiteY79" fmla="*/ 343604 h 497591"/>
              <a:gd name="connsiteX80" fmla="*/ 689758 w 977020"/>
              <a:gd name="connsiteY80" fmla="*/ 351738 h 497591"/>
              <a:gd name="connsiteX81" fmla="*/ 675942 w 977020"/>
              <a:gd name="connsiteY81" fmla="*/ 371962 h 497591"/>
              <a:gd name="connsiteX82" fmla="*/ 675942 w 977020"/>
              <a:gd name="connsiteY82" fmla="*/ 494481 h 497591"/>
              <a:gd name="connsiteX83" fmla="*/ 626810 w 977020"/>
              <a:gd name="connsiteY83" fmla="*/ 494481 h 497591"/>
              <a:gd name="connsiteX84" fmla="*/ 626734 w 977020"/>
              <a:gd name="connsiteY84" fmla="*/ 305459 h 497591"/>
              <a:gd name="connsiteX85" fmla="*/ 665780 w 977020"/>
              <a:gd name="connsiteY85" fmla="*/ 305459 h 497591"/>
              <a:gd name="connsiteX86" fmla="*/ 671462 w 977020"/>
              <a:gd name="connsiteY86" fmla="*/ 330489 h 497591"/>
              <a:gd name="connsiteX87" fmla="*/ 672989 w 977020"/>
              <a:gd name="connsiteY87" fmla="*/ 330489 h 497591"/>
              <a:gd name="connsiteX88" fmla="*/ 696041 w 977020"/>
              <a:gd name="connsiteY88" fmla="*/ 309314 h 497591"/>
              <a:gd name="connsiteX89" fmla="*/ 733109 w 977020"/>
              <a:gd name="connsiteY89" fmla="*/ 300228 h 497591"/>
              <a:gd name="connsiteX90" fmla="*/ 730506 w 977020"/>
              <a:gd name="connsiteY90" fmla="*/ 115762 h 497591"/>
              <a:gd name="connsiteX91" fmla="*/ 699295 w 977020"/>
              <a:gd name="connsiteY91" fmla="*/ 129753 h 497591"/>
              <a:gd name="connsiteX92" fmla="*/ 688907 w 977020"/>
              <a:gd name="connsiteY92" fmla="*/ 177785 h 497591"/>
              <a:gd name="connsiteX93" fmla="*/ 697417 w 977020"/>
              <a:gd name="connsiteY93" fmla="*/ 216730 h 497591"/>
              <a:gd name="connsiteX94" fmla="*/ 724449 w 977020"/>
              <a:gd name="connsiteY94" fmla="*/ 231472 h 497591"/>
              <a:gd name="connsiteX95" fmla="*/ 747125 w 977020"/>
              <a:gd name="connsiteY95" fmla="*/ 224464 h 497591"/>
              <a:gd name="connsiteX96" fmla="*/ 747125 w 977020"/>
              <a:gd name="connsiteY96" fmla="*/ 224389 h 497591"/>
              <a:gd name="connsiteX97" fmla="*/ 758864 w 977020"/>
              <a:gd name="connsiteY97" fmla="*/ 204166 h 497591"/>
              <a:gd name="connsiteX98" fmla="*/ 758864 w 977020"/>
              <a:gd name="connsiteY98" fmla="*/ 124072 h 497591"/>
              <a:gd name="connsiteX99" fmla="*/ 747125 w 977020"/>
              <a:gd name="connsiteY99" fmla="*/ 117839 h 497591"/>
              <a:gd name="connsiteX100" fmla="*/ 730506 w 977020"/>
              <a:gd name="connsiteY100" fmla="*/ 115762 h 497591"/>
              <a:gd name="connsiteX101" fmla="*/ 327108 w 977020"/>
              <a:gd name="connsiteY101" fmla="*/ 114986 h 497591"/>
              <a:gd name="connsiteX102" fmla="*/ 298750 w 977020"/>
              <a:gd name="connsiteY102" fmla="*/ 128602 h 497591"/>
              <a:gd name="connsiteX103" fmla="*/ 288538 w 977020"/>
              <a:gd name="connsiteY103" fmla="*/ 173204 h 497591"/>
              <a:gd name="connsiteX104" fmla="*/ 290816 w 977020"/>
              <a:gd name="connsiteY104" fmla="*/ 196281 h 497591"/>
              <a:gd name="connsiteX105" fmla="*/ 297599 w 977020"/>
              <a:gd name="connsiteY105" fmla="*/ 214803 h 497591"/>
              <a:gd name="connsiteX106" fmla="*/ 309513 w 977020"/>
              <a:gd name="connsiteY106" fmla="*/ 227092 h 497591"/>
              <a:gd name="connsiteX107" fmla="*/ 327033 w 977020"/>
              <a:gd name="connsiteY107" fmla="*/ 231447 h 497591"/>
              <a:gd name="connsiteX108" fmla="*/ 355767 w 977020"/>
              <a:gd name="connsiteY108" fmla="*/ 217456 h 497591"/>
              <a:gd name="connsiteX109" fmla="*/ 355842 w 977020"/>
              <a:gd name="connsiteY109" fmla="*/ 217456 h 497591"/>
              <a:gd name="connsiteX110" fmla="*/ 365303 w 977020"/>
              <a:gd name="connsiteY110" fmla="*/ 173204 h 497591"/>
              <a:gd name="connsiteX111" fmla="*/ 356593 w 977020"/>
              <a:gd name="connsiteY111" fmla="*/ 131055 h 497591"/>
              <a:gd name="connsiteX112" fmla="*/ 327108 w 977020"/>
              <a:gd name="connsiteY112" fmla="*/ 114986 h 497591"/>
              <a:gd name="connsiteX113" fmla="*/ 906262 w 977020"/>
              <a:gd name="connsiteY113" fmla="*/ 73413 h 497591"/>
              <a:gd name="connsiteX114" fmla="*/ 945207 w 977020"/>
              <a:gd name="connsiteY114" fmla="*/ 77968 h 497591"/>
              <a:gd name="connsiteX115" fmla="*/ 972439 w 977020"/>
              <a:gd name="connsiteY115" fmla="*/ 88155 h 497591"/>
              <a:gd name="connsiteX116" fmla="*/ 961477 w 977020"/>
              <a:gd name="connsiteY116" fmla="*/ 123721 h 497591"/>
              <a:gd name="connsiteX117" fmla="*/ 939551 w 977020"/>
              <a:gd name="connsiteY117" fmla="*/ 116538 h 497591"/>
              <a:gd name="connsiteX118" fmla="*/ 912694 w 977020"/>
              <a:gd name="connsiteY118" fmla="*/ 112734 h 497591"/>
              <a:gd name="connsiteX119" fmla="*/ 896250 w 977020"/>
              <a:gd name="connsiteY119" fmla="*/ 116989 h 497591"/>
              <a:gd name="connsiteX120" fmla="*/ 890833 w 977020"/>
              <a:gd name="connsiteY120" fmla="*/ 129603 h 497591"/>
              <a:gd name="connsiteX121" fmla="*/ 890819 w 977020"/>
              <a:gd name="connsiteY121" fmla="*/ 129578 h 497591"/>
              <a:gd name="connsiteX122" fmla="*/ 890769 w 977020"/>
              <a:gd name="connsiteY122" fmla="*/ 129753 h 497591"/>
              <a:gd name="connsiteX123" fmla="*/ 890833 w 977020"/>
              <a:gd name="connsiteY123" fmla="*/ 129603 h 497591"/>
              <a:gd name="connsiteX124" fmla="*/ 897226 w 977020"/>
              <a:gd name="connsiteY124" fmla="*/ 140541 h 497591"/>
              <a:gd name="connsiteX125" fmla="*/ 913120 w 977020"/>
              <a:gd name="connsiteY125" fmla="*/ 148300 h 497591"/>
              <a:gd name="connsiteX126" fmla="*/ 933919 w 977020"/>
              <a:gd name="connsiteY126" fmla="*/ 156059 h 497591"/>
              <a:gd name="connsiteX127" fmla="*/ 954719 w 977020"/>
              <a:gd name="connsiteY127" fmla="*/ 166822 h 497591"/>
              <a:gd name="connsiteX128" fmla="*/ 970612 w 977020"/>
              <a:gd name="connsiteY128" fmla="*/ 184042 h 497591"/>
              <a:gd name="connsiteX129" fmla="*/ 977020 w 977020"/>
              <a:gd name="connsiteY129" fmla="*/ 211249 h 497591"/>
              <a:gd name="connsiteX130" fmla="*/ 958698 w 977020"/>
              <a:gd name="connsiteY130" fmla="*/ 256301 h 497591"/>
              <a:gd name="connsiteX131" fmla="*/ 903634 w 977020"/>
              <a:gd name="connsiteY131" fmla="*/ 272771 h 497591"/>
              <a:gd name="connsiteX132" fmla="*/ 866090 w 977020"/>
              <a:gd name="connsiteY132" fmla="*/ 267765 h 497591"/>
              <a:gd name="connsiteX133" fmla="*/ 837557 w 977020"/>
              <a:gd name="connsiteY133" fmla="*/ 255851 h 497591"/>
              <a:gd name="connsiteX134" fmla="*/ 851122 w 977020"/>
              <a:gd name="connsiteY134" fmla="*/ 219383 h 497591"/>
              <a:gd name="connsiteX135" fmla="*/ 874174 w 977020"/>
              <a:gd name="connsiteY135" fmla="*/ 229020 h 497591"/>
              <a:gd name="connsiteX136" fmla="*/ 903684 w 977020"/>
              <a:gd name="connsiteY136" fmla="*/ 233725 h 497591"/>
              <a:gd name="connsiteX137" fmla="*/ 921204 w 977020"/>
              <a:gd name="connsiteY137" fmla="*/ 229570 h 497591"/>
              <a:gd name="connsiteX138" fmla="*/ 927837 w 977020"/>
              <a:gd name="connsiteY138" fmla="*/ 215604 h 497591"/>
              <a:gd name="connsiteX139" fmla="*/ 921405 w 977020"/>
              <a:gd name="connsiteY139" fmla="*/ 203490 h 497591"/>
              <a:gd name="connsiteX140" fmla="*/ 905511 w 977020"/>
              <a:gd name="connsiteY140" fmla="*/ 195180 h 497591"/>
              <a:gd name="connsiteX141" fmla="*/ 884711 w 977020"/>
              <a:gd name="connsiteY141" fmla="*/ 187421 h 497591"/>
              <a:gd name="connsiteX142" fmla="*/ 863937 w 977020"/>
              <a:gd name="connsiteY142" fmla="*/ 176458 h 497591"/>
              <a:gd name="connsiteX143" fmla="*/ 848044 w 977020"/>
              <a:gd name="connsiteY143" fmla="*/ 158687 h 497591"/>
              <a:gd name="connsiteX144" fmla="*/ 841611 w 977020"/>
              <a:gd name="connsiteY144" fmla="*/ 130880 h 497591"/>
              <a:gd name="connsiteX145" fmla="*/ 858256 w 977020"/>
              <a:gd name="connsiteY145" fmla="*/ 88155 h 497591"/>
              <a:gd name="connsiteX146" fmla="*/ 906262 w 977020"/>
              <a:gd name="connsiteY146" fmla="*/ 73413 h 497591"/>
              <a:gd name="connsiteX147" fmla="*/ 548993 w 977020"/>
              <a:gd name="connsiteY147" fmla="*/ 73413 h 497591"/>
              <a:gd name="connsiteX148" fmla="*/ 574023 w 977020"/>
              <a:gd name="connsiteY148" fmla="*/ 77192 h 497591"/>
              <a:gd name="connsiteX149" fmla="*/ 592544 w 977020"/>
              <a:gd name="connsiteY149" fmla="*/ 89706 h 497591"/>
              <a:gd name="connsiteX150" fmla="*/ 603883 w 977020"/>
              <a:gd name="connsiteY150" fmla="*/ 113334 h 497591"/>
              <a:gd name="connsiteX151" fmla="*/ 607662 w 977020"/>
              <a:gd name="connsiteY151" fmla="*/ 150202 h 497591"/>
              <a:gd name="connsiteX152" fmla="*/ 607537 w 977020"/>
              <a:gd name="connsiteY152" fmla="*/ 267665 h 497591"/>
              <a:gd name="connsiteX153" fmla="*/ 558454 w 977020"/>
              <a:gd name="connsiteY153" fmla="*/ 267665 h 497591"/>
              <a:gd name="connsiteX154" fmla="*/ 558454 w 977020"/>
              <a:gd name="connsiteY154" fmla="*/ 160314 h 497591"/>
              <a:gd name="connsiteX155" fmla="*/ 551847 w 977020"/>
              <a:gd name="connsiteY155" fmla="*/ 127025 h 497591"/>
              <a:gd name="connsiteX156" fmla="*/ 529320 w 977020"/>
              <a:gd name="connsiteY156" fmla="*/ 116838 h 497591"/>
              <a:gd name="connsiteX157" fmla="*/ 505693 w 977020"/>
              <a:gd name="connsiteY157" fmla="*/ 124948 h 497591"/>
              <a:gd name="connsiteX158" fmla="*/ 491876 w 977020"/>
              <a:gd name="connsiteY158" fmla="*/ 145171 h 497591"/>
              <a:gd name="connsiteX159" fmla="*/ 491876 w 977020"/>
              <a:gd name="connsiteY159" fmla="*/ 267690 h 497591"/>
              <a:gd name="connsiteX160" fmla="*/ 442744 w 977020"/>
              <a:gd name="connsiteY160" fmla="*/ 267690 h 497591"/>
              <a:gd name="connsiteX161" fmla="*/ 442744 w 977020"/>
              <a:gd name="connsiteY161" fmla="*/ 78644 h 497591"/>
              <a:gd name="connsiteX162" fmla="*/ 481689 w 977020"/>
              <a:gd name="connsiteY162" fmla="*/ 78644 h 497591"/>
              <a:gd name="connsiteX163" fmla="*/ 487371 w 977020"/>
              <a:gd name="connsiteY163" fmla="*/ 103673 h 497591"/>
              <a:gd name="connsiteX164" fmla="*/ 488873 w 977020"/>
              <a:gd name="connsiteY164" fmla="*/ 103673 h 497591"/>
              <a:gd name="connsiteX165" fmla="*/ 511950 w 977020"/>
              <a:gd name="connsiteY165" fmla="*/ 82498 h 497591"/>
              <a:gd name="connsiteX166" fmla="*/ 548993 w 977020"/>
              <a:gd name="connsiteY166" fmla="*/ 73413 h 497591"/>
              <a:gd name="connsiteX167" fmla="*/ 327008 w 977020"/>
              <a:gd name="connsiteY167" fmla="*/ 73337 h 497591"/>
              <a:gd name="connsiteX168" fmla="*/ 366329 w 977020"/>
              <a:gd name="connsiteY168" fmla="*/ 80521 h 497591"/>
              <a:gd name="connsiteX169" fmla="*/ 393862 w 977020"/>
              <a:gd name="connsiteY169" fmla="*/ 100769 h 497591"/>
              <a:gd name="connsiteX170" fmla="*/ 410481 w 977020"/>
              <a:gd name="connsiteY170" fmla="*/ 132331 h 497591"/>
              <a:gd name="connsiteX171" fmla="*/ 415963 w 977020"/>
              <a:gd name="connsiteY171" fmla="*/ 173154 h 497591"/>
              <a:gd name="connsiteX172" fmla="*/ 415812 w 977020"/>
              <a:gd name="connsiteY172" fmla="*/ 173154 h 497591"/>
              <a:gd name="connsiteX173" fmla="*/ 392560 w 977020"/>
              <a:gd name="connsiteY173" fmla="*/ 247091 h 497591"/>
              <a:gd name="connsiteX174" fmla="*/ 326958 w 977020"/>
              <a:gd name="connsiteY174" fmla="*/ 272996 h 497591"/>
              <a:gd name="connsiteX175" fmla="*/ 287837 w 977020"/>
              <a:gd name="connsiteY175" fmla="*/ 265813 h 497591"/>
              <a:gd name="connsiteX176" fmla="*/ 260030 w 977020"/>
              <a:gd name="connsiteY176" fmla="*/ 245589 h 497591"/>
              <a:gd name="connsiteX177" fmla="*/ 243410 w 977020"/>
              <a:gd name="connsiteY177" fmla="*/ 214002 h 497591"/>
              <a:gd name="connsiteX178" fmla="*/ 237779 w 977020"/>
              <a:gd name="connsiteY178" fmla="*/ 173154 h 497591"/>
              <a:gd name="connsiteX179" fmla="*/ 261206 w 977020"/>
              <a:gd name="connsiteY179" fmla="*/ 99243 h 497591"/>
              <a:gd name="connsiteX180" fmla="*/ 327008 w 977020"/>
              <a:gd name="connsiteY180" fmla="*/ 73337 h 497591"/>
              <a:gd name="connsiteX181" fmla="*/ 758864 w 977020"/>
              <a:gd name="connsiteY181" fmla="*/ 3005 h 497591"/>
              <a:gd name="connsiteX182" fmla="*/ 808022 w 977020"/>
              <a:gd name="connsiteY182" fmla="*/ 3005 h 497591"/>
              <a:gd name="connsiteX183" fmla="*/ 808022 w 977020"/>
              <a:gd name="connsiteY183" fmla="*/ 201137 h 497591"/>
              <a:gd name="connsiteX184" fmla="*/ 808397 w 977020"/>
              <a:gd name="connsiteY184" fmla="*/ 232924 h 497591"/>
              <a:gd name="connsiteX185" fmla="*/ 811801 w 977020"/>
              <a:gd name="connsiteY185" fmla="*/ 267965 h 497591"/>
              <a:gd name="connsiteX186" fmla="*/ 811726 w 977020"/>
              <a:gd name="connsiteY186" fmla="*/ 268040 h 497591"/>
              <a:gd name="connsiteX187" fmla="*/ 776685 w 977020"/>
              <a:gd name="connsiteY187" fmla="*/ 268040 h 497591"/>
              <a:gd name="connsiteX188" fmla="*/ 769877 w 977020"/>
              <a:gd name="connsiteY188" fmla="*/ 243462 h 497591"/>
              <a:gd name="connsiteX189" fmla="*/ 768400 w 977020"/>
              <a:gd name="connsiteY189" fmla="*/ 243462 h 497591"/>
              <a:gd name="connsiteX190" fmla="*/ 746650 w 977020"/>
              <a:gd name="connsiteY190" fmla="*/ 264837 h 497591"/>
              <a:gd name="connsiteX191" fmla="*/ 713186 w 977020"/>
              <a:gd name="connsiteY191" fmla="*/ 272971 h 497591"/>
              <a:gd name="connsiteX192" fmla="*/ 657971 w 977020"/>
              <a:gd name="connsiteY192" fmla="*/ 249519 h 497591"/>
              <a:gd name="connsiteX193" fmla="*/ 638248 w 977020"/>
              <a:gd name="connsiteY193" fmla="*/ 176183 h 497591"/>
              <a:gd name="connsiteX194" fmla="*/ 660199 w 977020"/>
              <a:gd name="connsiteY194" fmla="*/ 100945 h 497591"/>
              <a:gd name="connsiteX195" fmla="*/ 724449 w 977020"/>
              <a:gd name="connsiteY195" fmla="*/ 74213 h 497591"/>
              <a:gd name="connsiteX196" fmla="*/ 743721 w 977020"/>
              <a:gd name="connsiteY196" fmla="*/ 75565 h 497591"/>
              <a:gd name="connsiteX197" fmla="*/ 758864 w 977020"/>
              <a:gd name="connsiteY197" fmla="*/ 79895 h 497591"/>
              <a:gd name="connsiteX198" fmla="*/ 198107 w 977020"/>
              <a:gd name="connsiteY198" fmla="*/ 1 h 497591"/>
              <a:gd name="connsiteX199" fmla="*/ 248416 w 977020"/>
              <a:gd name="connsiteY199" fmla="*/ 7185 h 497591"/>
              <a:gd name="connsiteX200" fmla="*/ 248516 w 977020"/>
              <a:gd name="connsiteY200" fmla="*/ 7185 h 497591"/>
              <a:gd name="connsiteX201" fmla="*/ 239055 w 977020"/>
              <a:gd name="connsiteY201" fmla="*/ 46506 h 497591"/>
              <a:gd name="connsiteX202" fmla="*/ 223737 w 977020"/>
              <a:gd name="connsiteY202" fmla="*/ 42526 h 497591"/>
              <a:gd name="connsiteX203" fmla="*/ 209946 w 977020"/>
              <a:gd name="connsiteY203" fmla="*/ 41575 h 497591"/>
              <a:gd name="connsiteX204" fmla="*/ 198032 w 977020"/>
              <a:gd name="connsiteY204" fmla="*/ 43853 h 497591"/>
              <a:gd name="connsiteX205" fmla="*/ 191600 w 977020"/>
              <a:gd name="connsiteY205" fmla="*/ 50861 h 497591"/>
              <a:gd name="connsiteX206" fmla="*/ 188947 w 977020"/>
              <a:gd name="connsiteY206" fmla="*/ 62575 h 497591"/>
              <a:gd name="connsiteX207" fmla="*/ 188371 w 977020"/>
              <a:gd name="connsiteY207" fmla="*/ 78644 h 497591"/>
              <a:gd name="connsiteX208" fmla="*/ 229970 w 977020"/>
              <a:gd name="connsiteY208" fmla="*/ 78644 h 497591"/>
              <a:gd name="connsiteX209" fmla="*/ 229970 w 977020"/>
              <a:gd name="connsiteY209" fmla="*/ 120217 h 497591"/>
              <a:gd name="connsiteX210" fmla="*/ 188371 w 977020"/>
              <a:gd name="connsiteY210" fmla="*/ 120217 h 497591"/>
              <a:gd name="connsiteX211" fmla="*/ 188371 w 977020"/>
              <a:gd name="connsiteY211" fmla="*/ 243236 h 497591"/>
              <a:gd name="connsiteX212" fmla="*/ 172752 w 977020"/>
              <a:gd name="connsiteY212" fmla="*/ 280104 h 497591"/>
              <a:gd name="connsiteX213" fmla="*/ 147723 w 977020"/>
              <a:gd name="connsiteY213" fmla="*/ 270894 h 497591"/>
              <a:gd name="connsiteX214" fmla="*/ 116712 w 977020"/>
              <a:gd name="connsiteY214" fmla="*/ 267690 h 497591"/>
              <a:gd name="connsiteX215" fmla="*/ 98941 w 977020"/>
              <a:gd name="connsiteY215" fmla="*/ 270193 h 497591"/>
              <a:gd name="connsiteX216" fmla="*/ 88354 w 977020"/>
              <a:gd name="connsiteY216" fmla="*/ 277376 h 497591"/>
              <a:gd name="connsiteX217" fmla="*/ 83348 w 977020"/>
              <a:gd name="connsiteY217" fmla="*/ 289290 h 497591"/>
              <a:gd name="connsiteX218" fmla="*/ 82221 w 977020"/>
              <a:gd name="connsiteY218" fmla="*/ 305534 h 497591"/>
              <a:gd name="connsiteX219" fmla="*/ 188471 w 977020"/>
              <a:gd name="connsiteY219" fmla="*/ 305534 h 497591"/>
              <a:gd name="connsiteX220" fmla="*/ 188471 w 977020"/>
              <a:gd name="connsiteY220" fmla="*/ 494606 h 497591"/>
              <a:gd name="connsiteX221" fmla="*/ 139439 w 977020"/>
              <a:gd name="connsiteY221" fmla="*/ 494606 h 497591"/>
              <a:gd name="connsiteX222" fmla="*/ 139439 w 977020"/>
              <a:gd name="connsiteY222" fmla="*/ 347033 h 497591"/>
              <a:gd name="connsiteX223" fmla="*/ 82347 w 977020"/>
              <a:gd name="connsiteY223" fmla="*/ 347033 h 497591"/>
              <a:gd name="connsiteX224" fmla="*/ 82347 w 977020"/>
              <a:gd name="connsiteY224" fmla="*/ 494506 h 497591"/>
              <a:gd name="connsiteX225" fmla="*/ 33189 w 977020"/>
              <a:gd name="connsiteY225" fmla="*/ 494506 h 497591"/>
              <a:gd name="connsiteX226" fmla="*/ 33189 w 977020"/>
              <a:gd name="connsiteY226" fmla="*/ 347033 h 497591"/>
              <a:gd name="connsiteX227" fmla="*/ 0 w 977020"/>
              <a:gd name="connsiteY227" fmla="*/ 347033 h 497591"/>
              <a:gd name="connsiteX228" fmla="*/ 0 w 977020"/>
              <a:gd name="connsiteY228" fmla="*/ 305484 h 497591"/>
              <a:gd name="connsiteX229" fmla="*/ 33189 w 977020"/>
              <a:gd name="connsiteY229" fmla="*/ 305484 h 497591"/>
              <a:gd name="connsiteX230" fmla="*/ 33189 w 977020"/>
              <a:gd name="connsiteY230" fmla="*/ 294897 h 497591"/>
              <a:gd name="connsiteX231" fmla="*/ 51711 w 977020"/>
              <a:gd name="connsiteY231" fmla="*/ 242535 h 497591"/>
              <a:gd name="connsiteX232" fmla="*/ 105399 w 977020"/>
              <a:gd name="connsiteY232" fmla="*/ 226091 h 497591"/>
              <a:gd name="connsiteX233" fmla="*/ 139238 w 977020"/>
              <a:gd name="connsiteY233" fmla="*/ 228094 h 497591"/>
              <a:gd name="connsiteX234" fmla="*/ 139238 w 977020"/>
              <a:gd name="connsiteY234" fmla="*/ 120217 h 497591"/>
              <a:gd name="connsiteX235" fmla="*/ 113133 w 977020"/>
              <a:gd name="connsiteY235" fmla="*/ 120217 h 497591"/>
              <a:gd name="connsiteX236" fmla="*/ 113133 w 977020"/>
              <a:gd name="connsiteY236" fmla="*/ 78644 h 497591"/>
              <a:gd name="connsiteX237" fmla="*/ 139238 w 977020"/>
              <a:gd name="connsiteY237" fmla="*/ 78644 h 497591"/>
              <a:gd name="connsiteX238" fmla="*/ 139238 w 977020"/>
              <a:gd name="connsiteY238" fmla="*/ 68056 h 497591"/>
              <a:gd name="connsiteX239" fmla="*/ 154256 w 977020"/>
              <a:gd name="connsiteY239" fmla="*/ 16045 h 497591"/>
              <a:gd name="connsiteX240" fmla="*/ 198107 w 977020"/>
              <a:gd name="connsiteY240" fmla="*/ 1 h 4975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Lst>
            <a:rect l="l" t="t" r="r" b="b"/>
            <a:pathLst>
              <a:path w="977020" h="497591">
                <a:moveTo>
                  <a:pt x="514353" y="411433"/>
                </a:moveTo>
                <a:cubicBezTo>
                  <a:pt x="507878" y="411826"/>
                  <a:pt x="501468" y="412970"/>
                  <a:pt x="495255" y="414837"/>
                </a:cubicBezTo>
                <a:cubicBezTo>
                  <a:pt x="490312" y="416247"/>
                  <a:pt x="485782" y="418822"/>
                  <a:pt x="482040" y="422346"/>
                </a:cubicBezTo>
                <a:cubicBezTo>
                  <a:pt x="478706" y="425640"/>
                  <a:pt x="476891" y="430175"/>
                  <a:pt x="477034" y="434861"/>
                </a:cubicBezTo>
                <a:cubicBezTo>
                  <a:pt x="476666" y="440986"/>
                  <a:pt x="478944" y="446975"/>
                  <a:pt x="483291" y="451305"/>
                </a:cubicBezTo>
                <a:cubicBezTo>
                  <a:pt x="488062" y="455457"/>
                  <a:pt x="494274" y="457562"/>
                  <a:pt x="500587" y="457162"/>
                </a:cubicBezTo>
                <a:cubicBezTo>
                  <a:pt x="510423" y="457162"/>
                  <a:pt x="518107" y="454984"/>
                  <a:pt x="524014" y="450554"/>
                </a:cubicBezTo>
                <a:cubicBezTo>
                  <a:pt x="529253" y="446780"/>
                  <a:pt x="533635" y="441944"/>
                  <a:pt x="536879" y="436363"/>
                </a:cubicBezTo>
                <a:lnTo>
                  <a:pt x="536879" y="411809"/>
                </a:lnTo>
                <a:cubicBezTo>
                  <a:pt x="529393" y="411075"/>
                  <a:pt x="521859" y="410948"/>
                  <a:pt x="514353" y="411433"/>
                </a:cubicBezTo>
                <a:close/>
                <a:moveTo>
                  <a:pt x="823064" y="305384"/>
                </a:moveTo>
                <a:lnTo>
                  <a:pt x="971288" y="305384"/>
                </a:lnTo>
                <a:lnTo>
                  <a:pt x="971288" y="347033"/>
                </a:lnTo>
                <a:lnTo>
                  <a:pt x="897552" y="438215"/>
                </a:lnTo>
                <a:lnTo>
                  <a:pt x="878655" y="452957"/>
                </a:lnTo>
                <a:lnTo>
                  <a:pt x="971263" y="452957"/>
                </a:lnTo>
                <a:lnTo>
                  <a:pt x="971263" y="494556"/>
                </a:lnTo>
                <a:lnTo>
                  <a:pt x="823064" y="494556"/>
                </a:lnTo>
                <a:lnTo>
                  <a:pt x="823064" y="452957"/>
                </a:lnTo>
                <a:lnTo>
                  <a:pt x="897552" y="363352"/>
                </a:lnTo>
                <a:lnTo>
                  <a:pt x="916824" y="347083"/>
                </a:lnTo>
                <a:lnTo>
                  <a:pt x="823064" y="347083"/>
                </a:lnTo>
                <a:close/>
                <a:moveTo>
                  <a:pt x="517607" y="301705"/>
                </a:moveTo>
                <a:cubicBezTo>
                  <a:pt x="528757" y="301412"/>
                  <a:pt x="539878" y="303011"/>
                  <a:pt x="550495" y="306435"/>
                </a:cubicBezTo>
                <a:cubicBezTo>
                  <a:pt x="566414" y="311441"/>
                  <a:pt x="578545" y="324426"/>
                  <a:pt x="582457" y="340650"/>
                </a:cubicBezTo>
                <a:cubicBezTo>
                  <a:pt x="584695" y="349551"/>
                  <a:pt x="585781" y="358704"/>
                  <a:pt x="585686" y="367882"/>
                </a:cubicBezTo>
                <a:cubicBezTo>
                  <a:pt x="585686" y="378978"/>
                  <a:pt x="585303" y="390133"/>
                  <a:pt x="584535" y="401346"/>
                </a:cubicBezTo>
                <a:cubicBezTo>
                  <a:pt x="583767" y="412560"/>
                  <a:pt x="583316" y="423590"/>
                  <a:pt x="583183" y="434435"/>
                </a:cubicBezTo>
                <a:cubicBezTo>
                  <a:pt x="583051" y="445265"/>
                  <a:pt x="583359" y="455785"/>
                  <a:pt x="584109" y="465997"/>
                </a:cubicBezTo>
                <a:cubicBezTo>
                  <a:pt x="584805" y="475839"/>
                  <a:pt x="586713" y="485558"/>
                  <a:pt x="589791" y="494931"/>
                </a:cubicBezTo>
                <a:lnTo>
                  <a:pt x="549744" y="494931"/>
                </a:lnTo>
                <a:lnTo>
                  <a:pt x="541785" y="468851"/>
                </a:lnTo>
                <a:lnTo>
                  <a:pt x="539908" y="468851"/>
                </a:lnTo>
                <a:cubicBezTo>
                  <a:pt x="534469" y="477038"/>
                  <a:pt x="527313" y="483938"/>
                  <a:pt x="518933" y="489074"/>
                </a:cubicBezTo>
                <a:cubicBezTo>
                  <a:pt x="509973" y="494748"/>
                  <a:pt x="498434" y="497584"/>
                  <a:pt x="484317" y="497584"/>
                </a:cubicBezTo>
                <a:cubicBezTo>
                  <a:pt x="476201" y="497704"/>
                  <a:pt x="468129" y="496355"/>
                  <a:pt x="460490" y="493605"/>
                </a:cubicBezTo>
                <a:cubicBezTo>
                  <a:pt x="446861" y="488729"/>
                  <a:pt x="435956" y="478279"/>
                  <a:pt x="430505" y="464871"/>
                </a:cubicBezTo>
                <a:cubicBezTo>
                  <a:pt x="427636" y="457712"/>
                  <a:pt x="426225" y="450054"/>
                  <a:pt x="426350" y="442345"/>
                </a:cubicBezTo>
                <a:cubicBezTo>
                  <a:pt x="426007" y="432028"/>
                  <a:pt x="428695" y="421838"/>
                  <a:pt x="434084" y="413035"/>
                </a:cubicBezTo>
                <a:cubicBezTo>
                  <a:pt x="439680" y="404740"/>
                  <a:pt x="447387" y="398090"/>
                  <a:pt x="456410" y="393763"/>
                </a:cubicBezTo>
                <a:cubicBezTo>
                  <a:pt x="467370" y="388479"/>
                  <a:pt x="479124" y="385030"/>
                  <a:pt x="491201" y="383551"/>
                </a:cubicBezTo>
                <a:cubicBezTo>
                  <a:pt x="506176" y="381608"/>
                  <a:pt x="521298" y="381040"/>
                  <a:pt x="536378" y="381849"/>
                </a:cubicBezTo>
                <a:cubicBezTo>
                  <a:pt x="538131" y="367732"/>
                  <a:pt x="537122" y="357588"/>
                  <a:pt x="533350" y="351413"/>
                </a:cubicBezTo>
                <a:lnTo>
                  <a:pt x="533475" y="351438"/>
                </a:lnTo>
                <a:cubicBezTo>
                  <a:pt x="529703" y="345263"/>
                  <a:pt x="521261" y="342177"/>
                  <a:pt x="508145" y="342177"/>
                </a:cubicBezTo>
                <a:cubicBezTo>
                  <a:pt x="497678" y="342235"/>
                  <a:pt x="487241" y="343248"/>
                  <a:pt x="476959" y="345206"/>
                </a:cubicBezTo>
                <a:cubicBezTo>
                  <a:pt x="467645" y="346715"/>
                  <a:pt x="458557" y="349381"/>
                  <a:pt x="449902" y="353140"/>
                </a:cubicBezTo>
                <a:lnTo>
                  <a:pt x="438189" y="316472"/>
                </a:lnTo>
                <a:cubicBezTo>
                  <a:pt x="449699" y="311491"/>
                  <a:pt x="461753" y="307869"/>
                  <a:pt x="474105" y="305684"/>
                </a:cubicBezTo>
                <a:cubicBezTo>
                  <a:pt x="488447" y="302986"/>
                  <a:pt x="503012" y="301655"/>
                  <a:pt x="517607" y="301705"/>
                </a:cubicBezTo>
                <a:close/>
                <a:moveTo>
                  <a:pt x="339448" y="300253"/>
                </a:moveTo>
                <a:cubicBezTo>
                  <a:pt x="347943" y="300121"/>
                  <a:pt x="356400" y="301397"/>
                  <a:pt x="364477" y="304032"/>
                </a:cubicBezTo>
                <a:cubicBezTo>
                  <a:pt x="371666" y="306475"/>
                  <a:pt x="378068" y="310795"/>
                  <a:pt x="383024" y="316547"/>
                </a:cubicBezTo>
                <a:cubicBezTo>
                  <a:pt x="388595" y="323430"/>
                  <a:pt x="392478" y="331522"/>
                  <a:pt x="394362" y="340175"/>
                </a:cubicBezTo>
                <a:cubicBezTo>
                  <a:pt x="397048" y="352282"/>
                  <a:pt x="398257" y="364671"/>
                  <a:pt x="397966" y="377068"/>
                </a:cubicBezTo>
                <a:lnTo>
                  <a:pt x="397966" y="494706"/>
                </a:lnTo>
                <a:lnTo>
                  <a:pt x="348909" y="494706"/>
                </a:lnTo>
                <a:lnTo>
                  <a:pt x="348909" y="387080"/>
                </a:lnTo>
                <a:cubicBezTo>
                  <a:pt x="348909" y="371712"/>
                  <a:pt x="346699" y="360624"/>
                  <a:pt x="342276" y="353816"/>
                </a:cubicBezTo>
                <a:cubicBezTo>
                  <a:pt x="337853" y="347008"/>
                  <a:pt x="330345" y="343604"/>
                  <a:pt x="319750" y="343604"/>
                </a:cubicBezTo>
                <a:cubicBezTo>
                  <a:pt x="311140" y="343361"/>
                  <a:pt x="302735" y="346250"/>
                  <a:pt x="296097" y="351738"/>
                </a:cubicBezTo>
                <a:cubicBezTo>
                  <a:pt x="289737" y="357090"/>
                  <a:pt x="284967" y="364085"/>
                  <a:pt x="282306" y="371962"/>
                </a:cubicBezTo>
                <a:lnTo>
                  <a:pt x="282306" y="494481"/>
                </a:lnTo>
                <a:lnTo>
                  <a:pt x="233198" y="494481"/>
                </a:lnTo>
                <a:lnTo>
                  <a:pt x="233198" y="305484"/>
                </a:lnTo>
                <a:lnTo>
                  <a:pt x="272144" y="305484"/>
                </a:lnTo>
                <a:lnTo>
                  <a:pt x="277826" y="330514"/>
                </a:lnTo>
                <a:lnTo>
                  <a:pt x="279327" y="330514"/>
                </a:lnTo>
                <a:cubicBezTo>
                  <a:pt x="285570" y="322024"/>
                  <a:pt x="293409" y="314830"/>
                  <a:pt x="302404" y="309339"/>
                </a:cubicBezTo>
                <a:cubicBezTo>
                  <a:pt x="311966" y="303282"/>
                  <a:pt x="324313" y="300253"/>
                  <a:pt x="339448" y="300253"/>
                </a:cubicBezTo>
                <a:close/>
                <a:moveTo>
                  <a:pt x="733109" y="300228"/>
                </a:moveTo>
                <a:cubicBezTo>
                  <a:pt x="741604" y="300093"/>
                  <a:pt x="750061" y="301369"/>
                  <a:pt x="758138" y="304007"/>
                </a:cubicBezTo>
                <a:cubicBezTo>
                  <a:pt x="765327" y="306450"/>
                  <a:pt x="771729" y="310770"/>
                  <a:pt x="776685" y="316522"/>
                </a:cubicBezTo>
                <a:cubicBezTo>
                  <a:pt x="782257" y="323405"/>
                  <a:pt x="786139" y="331497"/>
                  <a:pt x="788023" y="340150"/>
                </a:cubicBezTo>
                <a:cubicBezTo>
                  <a:pt x="790739" y="352261"/>
                  <a:pt x="791966" y="364659"/>
                  <a:pt x="791678" y="377068"/>
                </a:cubicBezTo>
                <a:lnTo>
                  <a:pt x="791678" y="494706"/>
                </a:lnTo>
                <a:lnTo>
                  <a:pt x="742520" y="494706"/>
                </a:lnTo>
                <a:lnTo>
                  <a:pt x="742520" y="387080"/>
                </a:lnTo>
                <a:cubicBezTo>
                  <a:pt x="742520" y="371712"/>
                  <a:pt x="740317" y="360624"/>
                  <a:pt x="735912" y="353816"/>
                </a:cubicBezTo>
                <a:cubicBezTo>
                  <a:pt x="731507" y="347008"/>
                  <a:pt x="723998" y="343604"/>
                  <a:pt x="713386" y="343604"/>
                </a:cubicBezTo>
                <a:cubicBezTo>
                  <a:pt x="704783" y="343354"/>
                  <a:pt x="696383" y="346247"/>
                  <a:pt x="689758" y="351738"/>
                </a:cubicBezTo>
                <a:cubicBezTo>
                  <a:pt x="683383" y="357082"/>
                  <a:pt x="678603" y="364081"/>
                  <a:pt x="675942" y="371962"/>
                </a:cubicBezTo>
                <a:lnTo>
                  <a:pt x="675942" y="494481"/>
                </a:lnTo>
                <a:lnTo>
                  <a:pt x="626810" y="494481"/>
                </a:lnTo>
                <a:lnTo>
                  <a:pt x="626734" y="305459"/>
                </a:lnTo>
                <a:lnTo>
                  <a:pt x="665780" y="305459"/>
                </a:lnTo>
                <a:lnTo>
                  <a:pt x="671462" y="330489"/>
                </a:lnTo>
                <a:lnTo>
                  <a:pt x="672989" y="330489"/>
                </a:lnTo>
                <a:cubicBezTo>
                  <a:pt x="679216" y="321991"/>
                  <a:pt x="687048" y="314798"/>
                  <a:pt x="696041" y="309314"/>
                </a:cubicBezTo>
                <a:cubicBezTo>
                  <a:pt x="705602" y="303257"/>
                  <a:pt x="717959" y="300228"/>
                  <a:pt x="733109" y="300228"/>
                </a:cubicBezTo>
                <a:close/>
                <a:moveTo>
                  <a:pt x="730506" y="115762"/>
                </a:moveTo>
                <a:cubicBezTo>
                  <a:pt x="716640" y="115762"/>
                  <a:pt x="706235" y="120425"/>
                  <a:pt x="699295" y="129753"/>
                </a:cubicBezTo>
                <a:cubicBezTo>
                  <a:pt x="692354" y="139082"/>
                  <a:pt x="688890" y="155091"/>
                  <a:pt x="688907" y="177785"/>
                </a:cubicBezTo>
                <a:cubicBezTo>
                  <a:pt x="688907" y="193903"/>
                  <a:pt x="691743" y="206886"/>
                  <a:pt x="697417" y="216730"/>
                </a:cubicBezTo>
                <a:cubicBezTo>
                  <a:pt x="703091" y="226574"/>
                  <a:pt x="712102" y="231490"/>
                  <a:pt x="724449" y="231472"/>
                </a:cubicBezTo>
                <a:cubicBezTo>
                  <a:pt x="734028" y="231472"/>
                  <a:pt x="741586" y="229137"/>
                  <a:pt x="747125" y="224464"/>
                </a:cubicBezTo>
                <a:lnTo>
                  <a:pt x="747125" y="224389"/>
                </a:lnTo>
                <a:cubicBezTo>
                  <a:pt x="753083" y="219061"/>
                  <a:pt x="757192" y="211980"/>
                  <a:pt x="758864" y="204166"/>
                </a:cubicBezTo>
                <a:lnTo>
                  <a:pt x="758864" y="124072"/>
                </a:lnTo>
                <a:cubicBezTo>
                  <a:pt x="755340" y="121333"/>
                  <a:pt x="751368" y="119224"/>
                  <a:pt x="747125" y="117839"/>
                </a:cubicBezTo>
                <a:cubicBezTo>
                  <a:pt x="741722" y="116310"/>
                  <a:pt x="736120" y="115609"/>
                  <a:pt x="730506" y="115762"/>
                </a:cubicBezTo>
                <a:close/>
                <a:moveTo>
                  <a:pt x="327108" y="114986"/>
                </a:moveTo>
                <a:cubicBezTo>
                  <a:pt x="315978" y="114513"/>
                  <a:pt x="305340" y="119619"/>
                  <a:pt x="298750" y="128602"/>
                </a:cubicBezTo>
                <a:cubicBezTo>
                  <a:pt x="291942" y="137680"/>
                  <a:pt x="288538" y="152548"/>
                  <a:pt x="288538" y="173204"/>
                </a:cubicBezTo>
                <a:cubicBezTo>
                  <a:pt x="288476" y="180956"/>
                  <a:pt x="289239" y="188692"/>
                  <a:pt x="290816" y="196281"/>
                </a:cubicBezTo>
                <a:cubicBezTo>
                  <a:pt x="292117" y="202766"/>
                  <a:pt x="294405" y="209011"/>
                  <a:pt x="297599" y="214803"/>
                </a:cubicBezTo>
                <a:cubicBezTo>
                  <a:pt x="300410" y="219884"/>
                  <a:pt x="304522" y="224126"/>
                  <a:pt x="309513" y="227092"/>
                </a:cubicBezTo>
                <a:cubicBezTo>
                  <a:pt x="314854" y="230093"/>
                  <a:pt x="320909" y="231600"/>
                  <a:pt x="327033" y="231447"/>
                </a:cubicBezTo>
                <a:cubicBezTo>
                  <a:pt x="339898" y="231447"/>
                  <a:pt x="349477" y="226784"/>
                  <a:pt x="355767" y="217456"/>
                </a:cubicBezTo>
                <a:lnTo>
                  <a:pt x="355842" y="217456"/>
                </a:lnTo>
                <a:cubicBezTo>
                  <a:pt x="362149" y="208145"/>
                  <a:pt x="365303" y="193396"/>
                  <a:pt x="365303" y="173204"/>
                </a:cubicBezTo>
                <a:cubicBezTo>
                  <a:pt x="365303" y="155834"/>
                  <a:pt x="362400" y="141785"/>
                  <a:pt x="356593" y="131055"/>
                </a:cubicBezTo>
                <a:cubicBezTo>
                  <a:pt x="350786" y="120325"/>
                  <a:pt x="340957" y="114969"/>
                  <a:pt x="327108" y="114986"/>
                </a:cubicBezTo>
                <a:close/>
                <a:moveTo>
                  <a:pt x="906262" y="73413"/>
                </a:moveTo>
                <a:cubicBezTo>
                  <a:pt x="919385" y="73265"/>
                  <a:pt x="932473" y="74797"/>
                  <a:pt x="945207" y="77968"/>
                </a:cubicBezTo>
                <a:cubicBezTo>
                  <a:pt x="954689" y="80168"/>
                  <a:pt x="963842" y="83592"/>
                  <a:pt x="972439" y="88155"/>
                </a:cubicBezTo>
                <a:lnTo>
                  <a:pt x="961477" y="123721"/>
                </a:lnTo>
                <a:cubicBezTo>
                  <a:pt x="955670" y="121436"/>
                  <a:pt x="948361" y="119041"/>
                  <a:pt x="939551" y="116538"/>
                </a:cubicBezTo>
                <a:cubicBezTo>
                  <a:pt x="930821" y="114020"/>
                  <a:pt x="921780" y="112738"/>
                  <a:pt x="912694" y="112734"/>
                </a:cubicBezTo>
                <a:cubicBezTo>
                  <a:pt x="905386" y="112734"/>
                  <a:pt x="899904" y="114152"/>
                  <a:pt x="896250" y="116989"/>
                </a:cubicBezTo>
                <a:lnTo>
                  <a:pt x="890833" y="129603"/>
                </a:lnTo>
                <a:lnTo>
                  <a:pt x="890819" y="129578"/>
                </a:lnTo>
                <a:lnTo>
                  <a:pt x="890769" y="129753"/>
                </a:lnTo>
                <a:lnTo>
                  <a:pt x="890833" y="129603"/>
                </a:lnTo>
                <a:lnTo>
                  <a:pt x="897226" y="140541"/>
                </a:lnTo>
                <a:cubicBezTo>
                  <a:pt x="902237" y="143680"/>
                  <a:pt x="907563" y="146280"/>
                  <a:pt x="913120" y="148300"/>
                </a:cubicBezTo>
                <a:cubicBezTo>
                  <a:pt x="919427" y="150703"/>
                  <a:pt x="926360" y="153288"/>
                  <a:pt x="933919" y="156059"/>
                </a:cubicBezTo>
                <a:cubicBezTo>
                  <a:pt x="941288" y="158735"/>
                  <a:pt x="948279" y="162352"/>
                  <a:pt x="954719" y="166822"/>
                </a:cubicBezTo>
                <a:cubicBezTo>
                  <a:pt x="961161" y="171390"/>
                  <a:pt x="966575" y="177256"/>
                  <a:pt x="970612" y="184042"/>
                </a:cubicBezTo>
                <a:cubicBezTo>
                  <a:pt x="974900" y="191100"/>
                  <a:pt x="977037" y="200168"/>
                  <a:pt x="977020" y="211249"/>
                </a:cubicBezTo>
                <a:cubicBezTo>
                  <a:pt x="977020" y="230421"/>
                  <a:pt x="970913" y="245439"/>
                  <a:pt x="958698" y="256301"/>
                </a:cubicBezTo>
                <a:cubicBezTo>
                  <a:pt x="946484" y="267164"/>
                  <a:pt x="928130" y="272653"/>
                  <a:pt x="903634" y="272771"/>
                </a:cubicBezTo>
                <a:cubicBezTo>
                  <a:pt x="890946" y="272881"/>
                  <a:pt x="878307" y="271197"/>
                  <a:pt x="866090" y="267765"/>
                </a:cubicBezTo>
                <a:cubicBezTo>
                  <a:pt x="856091" y="265084"/>
                  <a:pt x="846494" y="261077"/>
                  <a:pt x="837557" y="255851"/>
                </a:cubicBezTo>
                <a:lnTo>
                  <a:pt x="851122" y="219383"/>
                </a:lnTo>
                <a:cubicBezTo>
                  <a:pt x="858486" y="223316"/>
                  <a:pt x="866202" y="226542"/>
                  <a:pt x="874174" y="229020"/>
                </a:cubicBezTo>
                <a:cubicBezTo>
                  <a:pt x="883696" y="232156"/>
                  <a:pt x="893659" y="233743"/>
                  <a:pt x="903684" y="233725"/>
                </a:cubicBezTo>
                <a:cubicBezTo>
                  <a:pt x="909798" y="234016"/>
                  <a:pt x="915871" y="232576"/>
                  <a:pt x="921204" y="229570"/>
                </a:cubicBezTo>
                <a:cubicBezTo>
                  <a:pt x="925609" y="226817"/>
                  <a:pt x="927837" y="222061"/>
                  <a:pt x="927837" y="215604"/>
                </a:cubicBezTo>
                <a:cubicBezTo>
                  <a:pt x="927925" y="210726"/>
                  <a:pt x="925494" y="206148"/>
                  <a:pt x="921405" y="203490"/>
                </a:cubicBezTo>
                <a:cubicBezTo>
                  <a:pt x="916446" y="200116"/>
                  <a:pt x="911113" y="197327"/>
                  <a:pt x="905511" y="195180"/>
                </a:cubicBezTo>
                <a:cubicBezTo>
                  <a:pt x="899203" y="192660"/>
                  <a:pt x="892271" y="190074"/>
                  <a:pt x="884711" y="187421"/>
                </a:cubicBezTo>
                <a:cubicBezTo>
                  <a:pt x="877271" y="184845"/>
                  <a:pt x="870265" y="181149"/>
                  <a:pt x="863937" y="176458"/>
                </a:cubicBezTo>
                <a:cubicBezTo>
                  <a:pt x="857495" y="171667"/>
                  <a:pt x="852088" y="165623"/>
                  <a:pt x="848044" y="158687"/>
                </a:cubicBezTo>
                <a:cubicBezTo>
                  <a:pt x="843739" y="151496"/>
                  <a:pt x="841593" y="142226"/>
                  <a:pt x="841611" y="130880"/>
                </a:cubicBezTo>
                <a:cubicBezTo>
                  <a:pt x="841611" y="112240"/>
                  <a:pt x="847160" y="97999"/>
                  <a:pt x="858256" y="88155"/>
                </a:cubicBezTo>
                <a:cubicBezTo>
                  <a:pt x="869351" y="78311"/>
                  <a:pt x="885355" y="73395"/>
                  <a:pt x="906262" y="73413"/>
                </a:cubicBezTo>
                <a:close/>
                <a:moveTo>
                  <a:pt x="548993" y="73413"/>
                </a:moveTo>
                <a:cubicBezTo>
                  <a:pt x="557488" y="73285"/>
                  <a:pt x="565946" y="74561"/>
                  <a:pt x="574023" y="77192"/>
                </a:cubicBezTo>
                <a:cubicBezTo>
                  <a:pt x="581199" y="79645"/>
                  <a:pt x="587591" y="83965"/>
                  <a:pt x="592544" y="89706"/>
                </a:cubicBezTo>
                <a:cubicBezTo>
                  <a:pt x="598111" y="96592"/>
                  <a:pt x="601993" y="104684"/>
                  <a:pt x="603883" y="113334"/>
                </a:cubicBezTo>
                <a:cubicBezTo>
                  <a:pt x="606623" y="125426"/>
                  <a:pt x="607892" y="137805"/>
                  <a:pt x="607662" y="150202"/>
                </a:cubicBezTo>
                <a:lnTo>
                  <a:pt x="607537" y="267665"/>
                </a:lnTo>
                <a:lnTo>
                  <a:pt x="558454" y="267665"/>
                </a:lnTo>
                <a:lnTo>
                  <a:pt x="558454" y="160314"/>
                </a:lnTo>
                <a:cubicBezTo>
                  <a:pt x="558454" y="144946"/>
                  <a:pt x="556252" y="133851"/>
                  <a:pt x="551847" y="127025"/>
                </a:cubicBezTo>
                <a:cubicBezTo>
                  <a:pt x="547442" y="120200"/>
                  <a:pt x="539933" y="116806"/>
                  <a:pt x="529320" y="116838"/>
                </a:cubicBezTo>
                <a:cubicBezTo>
                  <a:pt x="520723" y="116585"/>
                  <a:pt x="512325" y="119469"/>
                  <a:pt x="505693" y="124948"/>
                </a:cubicBezTo>
                <a:cubicBezTo>
                  <a:pt x="499318" y="130291"/>
                  <a:pt x="494537" y="137290"/>
                  <a:pt x="491876" y="145171"/>
                </a:cubicBezTo>
                <a:lnTo>
                  <a:pt x="491876" y="267690"/>
                </a:lnTo>
                <a:lnTo>
                  <a:pt x="442744" y="267690"/>
                </a:lnTo>
                <a:lnTo>
                  <a:pt x="442744" y="78644"/>
                </a:lnTo>
                <a:lnTo>
                  <a:pt x="481689" y="78644"/>
                </a:lnTo>
                <a:lnTo>
                  <a:pt x="487371" y="103673"/>
                </a:lnTo>
                <a:lnTo>
                  <a:pt x="488873" y="103673"/>
                </a:lnTo>
                <a:cubicBezTo>
                  <a:pt x="495123" y="95188"/>
                  <a:pt x="502959" y="87997"/>
                  <a:pt x="511950" y="82498"/>
                </a:cubicBezTo>
                <a:cubicBezTo>
                  <a:pt x="521529" y="76441"/>
                  <a:pt x="533876" y="73413"/>
                  <a:pt x="548993" y="73413"/>
                </a:cubicBezTo>
                <a:close/>
                <a:moveTo>
                  <a:pt x="327008" y="73337"/>
                </a:moveTo>
                <a:cubicBezTo>
                  <a:pt x="340467" y="73027"/>
                  <a:pt x="353850" y="75472"/>
                  <a:pt x="366329" y="80521"/>
                </a:cubicBezTo>
                <a:cubicBezTo>
                  <a:pt x="376964" y="85021"/>
                  <a:pt x="386395" y="91957"/>
                  <a:pt x="393862" y="100769"/>
                </a:cubicBezTo>
                <a:cubicBezTo>
                  <a:pt x="401535" y="110020"/>
                  <a:pt x="407195" y="120770"/>
                  <a:pt x="410481" y="132331"/>
                </a:cubicBezTo>
                <a:cubicBezTo>
                  <a:pt x="414261" y="145604"/>
                  <a:pt x="416108" y="159353"/>
                  <a:pt x="415963" y="173154"/>
                </a:cubicBezTo>
                <a:lnTo>
                  <a:pt x="415812" y="173154"/>
                </a:lnTo>
                <a:cubicBezTo>
                  <a:pt x="415812" y="205192"/>
                  <a:pt x="408061" y="229838"/>
                  <a:pt x="392560" y="247091"/>
                </a:cubicBezTo>
                <a:cubicBezTo>
                  <a:pt x="377059" y="264343"/>
                  <a:pt x="355191" y="272978"/>
                  <a:pt x="326958" y="272996"/>
                </a:cubicBezTo>
                <a:cubicBezTo>
                  <a:pt x="313565" y="273279"/>
                  <a:pt x="300257" y="270834"/>
                  <a:pt x="287837" y="265813"/>
                </a:cubicBezTo>
                <a:cubicBezTo>
                  <a:pt x="277137" y="261300"/>
                  <a:pt x="267621" y="254379"/>
                  <a:pt x="260030" y="245589"/>
                </a:cubicBezTo>
                <a:cubicBezTo>
                  <a:pt x="252308" y="236361"/>
                  <a:pt x="246642" y="225593"/>
                  <a:pt x="243410" y="214002"/>
                </a:cubicBezTo>
                <a:cubicBezTo>
                  <a:pt x="239576" y="200729"/>
                  <a:pt x="237679" y="186970"/>
                  <a:pt x="237779" y="173154"/>
                </a:cubicBezTo>
                <a:cubicBezTo>
                  <a:pt x="237779" y="141167"/>
                  <a:pt x="245588" y="116530"/>
                  <a:pt x="261206" y="99243"/>
                </a:cubicBezTo>
                <a:cubicBezTo>
                  <a:pt x="276825" y="81955"/>
                  <a:pt x="298758" y="73320"/>
                  <a:pt x="327008" y="73337"/>
                </a:cubicBezTo>
                <a:close/>
                <a:moveTo>
                  <a:pt x="758864" y="3005"/>
                </a:moveTo>
                <a:lnTo>
                  <a:pt x="808022" y="3005"/>
                </a:lnTo>
                <a:lnTo>
                  <a:pt x="808022" y="201137"/>
                </a:lnTo>
                <a:cubicBezTo>
                  <a:pt x="808022" y="211750"/>
                  <a:pt x="808022" y="222312"/>
                  <a:pt x="808397" y="232924"/>
                </a:cubicBezTo>
                <a:cubicBezTo>
                  <a:pt x="808763" y="244666"/>
                  <a:pt x="809899" y="256372"/>
                  <a:pt x="811801" y="267965"/>
                </a:cubicBezTo>
                <a:lnTo>
                  <a:pt x="811726" y="268040"/>
                </a:lnTo>
                <a:lnTo>
                  <a:pt x="776685" y="268040"/>
                </a:lnTo>
                <a:lnTo>
                  <a:pt x="769877" y="243462"/>
                </a:lnTo>
                <a:lnTo>
                  <a:pt x="768400" y="243462"/>
                </a:lnTo>
                <a:cubicBezTo>
                  <a:pt x="763224" y="252429"/>
                  <a:pt x="755705" y="259818"/>
                  <a:pt x="746650" y="264837"/>
                </a:cubicBezTo>
                <a:cubicBezTo>
                  <a:pt x="736405" y="270446"/>
                  <a:pt x="724862" y="273252"/>
                  <a:pt x="713186" y="272971"/>
                </a:cubicBezTo>
                <a:cubicBezTo>
                  <a:pt x="689475" y="272971"/>
                  <a:pt x="671069" y="265154"/>
                  <a:pt x="657971" y="249519"/>
                </a:cubicBezTo>
                <a:cubicBezTo>
                  <a:pt x="644873" y="233883"/>
                  <a:pt x="638298" y="209439"/>
                  <a:pt x="638248" y="176183"/>
                </a:cubicBezTo>
                <a:cubicBezTo>
                  <a:pt x="638248" y="143927"/>
                  <a:pt x="645564" y="118848"/>
                  <a:pt x="660199" y="100945"/>
                </a:cubicBezTo>
                <a:cubicBezTo>
                  <a:pt x="674833" y="83041"/>
                  <a:pt x="696248" y="74131"/>
                  <a:pt x="724449" y="74213"/>
                </a:cubicBezTo>
                <a:cubicBezTo>
                  <a:pt x="730899" y="74111"/>
                  <a:pt x="737349" y="74564"/>
                  <a:pt x="743721" y="75565"/>
                </a:cubicBezTo>
                <a:cubicBezTo>
                  <a:pt x="748907" y="76471"/>
                  <a:pt x="753983" y="77923"/>
                  <a:pt x="758864" y="79895"/>
                </a:cubicBezTo>
                <a:close/>
                <a:moveTo>
                  <a:pt x="198107" y="1"/>
                </a:moveTo>
                <a:cubicBezTo>
                  <a:pt x="218281" y="1"/>
                  <a:pt x="235051" y="2397"/>
                  <a:pt x="248416" y="7185"/>
                </a:cubicBezTo>
                <a:lnTo>
                  <a:pt x="248516" y="7185"/>
                </a:lnTo>
                <a:lnTo>
                  <a:pt x="239055" y="46506"/>
                </a:lnTo>
                <a:cubicBezTo>
                  <a:pt x="234087" y="44694"/>
                  <a:pt x="228958" y="43360"/>
                  <a:pt x="223737" y="42526"/>
                </a:cubicBezTo>
                <a:cubicBezTo>
                  <a:pt x="219169" y="41886"/>
                  <a:pt x="214559" y="41568"/>
                  <a:pt x="209946" y="41575"/>
                </a:cubicBezTo>
                <a:cubicBezTo>
                  <a:pt x="205851" y="41387"/>
                  <a:pt x="201769" y="42166"/>
                  <a:pt x="198032" y="43853"/>
                </a:cubicBezTo>
                <a:cubicBezTo>
                  <a:pt x="195134" y="45365"/>
                  <a:pt x="192859" y="47845"/>
                  <a:pt x="191600" y="50861"/>
                </a:cubicBezTo>
                <a:cubicBezTo>
                  <a:pt x="190063" y="54588"/>
                  <a:pt x="189164" y="58548"/>
                  <a:pt x="188947" y="62575"/>
                </a:cubicBezTo>
                <a:cubicBezTo>
                  <a:pt x="188564" y="67230"/>
                  <a:pt x="188371" y="72586"/>
                  <a:pt x="188371" y="78644"/>
                </a:cubicBezTo>
                <a:lnTo>
                  <a:pt x="229970" y="78644"/>
                </a:lnTo>
                <a:lnTo>
                  <a:pt x="229970" y="120217"/>
                </a:lnTo>
                <a:lnTo>
                  <a:pt x="188371" y="120217"/>
                </a:lnTo>
                <a:lnTo>
                  <a:pt x="188371" y="243236"/>
                </a:lnTo>
                <a:cubicBezTo>
                  <a:pt x="188371" y="264661"/>
                  <a:pt x="172752" y="280104"/>
                  <a:pt x="172752" y="280104"/>
                </a:cubicBezTo>
                <a:cubicBezTo>
                  <a:pt x="164833" y="275985"/>
                  <a:pt x="156423" y="272889"/>
                  <a:pt x="147723" y="270894"/>
                </a:cubicBezTo>
                <a:cubicBezTo>
                  <a:pt x="137539" y="268671"/>
                  <a:pt x="127137" y="267597"/>
                  <a:pt x="116712" y="267690"/>
                </a:cubicBezTo>
                <a:cubicBezTo>
                  <a:pt x="110690" y="267522"/>
                  <a:pt x="104683" y="268368"/>
                  <a:pt x="98941" y="270193"/>
                </a:cubicBezTo>
                <a:cubicBezTo>
                  <a:pt x="94814" y="271559"/>
                  <a:pt x="91150" y="274047"/>
                  <a:pt x="88354" y="277376"/>
                </a:cubicBezTo>
                <a:cubicBezTo>
                  <a:pt x="85670" y="280840"/>
                  <a:pt x="83946" y="284950"/>
                  <a:pt x="83348" y="289290"/>
                </a:cubicBezTo>
                <a:cubicBezTo>
                  <a:pt x="82554" y="294669"/>
                  <a:pt x="82179" y="300098"/>
                  <a:pt x="82221" y="305534"/>
                </a:cubicBezTo>
                <a:lnTo>
                  <a:pt x="188471" y="305534"/>
                </a:lnTo>
                <a:lnTo>
                  <a:pt x="188471" y="494606"/>
                </a:lnTo>
                <a:lnTo>
                  <a:pt x="139439" y="494606"/>
                </a:lnTo>
                <a:lnTo>
                  <a:pt x="139439" y="347033"/>
                </a:lnTo>
                <a:lnTo>
                  <a:pt x="82347" y="347033"/>
                </a:lnTo>
                <a:lnTo>
                  <a:pt x="82347" y="494506"/>
                </a:lnTo>
                <a:lnTo>
                  <a:pt x="33189" y="494506"/>
                </a:lnTo>
                <a:lnTo>
                  <a:pt x="33189" y="347033"/>
                </a:lnTo>
                <a:lnTo>
                  <a:pt x="0" y="347033"/>
                </a:lnTo>
                <a:lnTo>
                  <a:pt x="0" y="305484"/>
                </a:lnTo>
                <a:lnTo>
                  <a:pt x="33189" y="305484"/>
                </a:lnTo>
                <a:lnTo>
                  <a:pt x="33189" y="294897"/>
                </a:lnTo>
                <a:cubicBezTo>
                  <a:pt x="33189" y="270969"/>
                  <a:pt x="39364" y="253516"/>
                  <a:pt x="51711" y="242535"/>
                </a:cubicBezTo>
                <a:cubicBezTo>
                  <a:pt x="64058" y="231555"/>
                  <a:pt x="81954" y="226074"/>
                  <a:pt x="105399" y="226091"/>
                </a:cubicBezTo>
                <a:cubicBezTo>
                  <a:pt x="116709" y="226051"/>
                  <a:pt x="128010" y="226719"/>
                  <a:pt x="139238" y="228094"/>
                </a:cubicBezTo>
                <a:lnTo>
                  <a:pt x="139238" y="120217"/>
                </a:lnTo>
                <a:lnTo>
                  <a:pt x="113133" y="120217"/>
                </a:lnTo>
                <a:lnTo>
                  <a:pt x="113133" y="78644"/>
                </a:lnTo>
                <a:lnTo>
                  <a:pt x="139238" y="78644"/>
                </a:lnTo>
                <a:lnTo>
                  <a:pt x="139238" y="68056"/>
                </a:lnTo>
                <a:cubicBezTo>
                  <a:pt x="139238" y="44110"/>
                  <a:pt x="144244" y="26775"/>
                  <a:pt x="154256" y="16045"/>
                </a:cubicBezTo>
                <a:cubicBezTo>
                  <a:pt x="164268" y="5315"/>
                  <a:pt x="178885" y="-31"/>
                  <a:pt x="198107" y="1"/>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80000" tIns="144000" rIns="180000" bIns="144000" rtlCol="0" anchor="t">
            <a:noAutofit/>
          </a:bodyPr>
          <a:lstStyle/>
          <a:p>
            <a:pPr algn="l"/>
            <a:endParaRPr lang="de-DE" sz="1600" dirty="0" err="1">
              <a:solidFill>
                <a:schemeClr val="bg1"/>
              </a:solidFill>
            </a:endParaRPr>
          </a:p>
        </p:txBody>
      </p:sp>
    </p:spTree>
    <p:extLst>
      <p:ext uri="{BB962C8B-B14F-4D97-AF65-F5344CB8AC3E}">
        <p14:creationId xmlns:p14="http://schemas.microsoft.com/office/powerpoint/2010/main" val="2347910180"/>
      </p:ext>
    </p:extLst>
  </p:cSld>
  <p:clrMapOvr>
    <a:masterClrMapping/>
  </p:clrMapOvr>
  <p:extLst>
    <p:ext uri="{DCECCB84-F9BA-43D5-87BE-67443E8EF086}">
      <p15:sldGuideLst xmlns:p15="http://schemas.microsoft.com/office/powerpoint/2012/main">
        <p15:guide id="1" pos="3386" userDrawn="1">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Schlussfolie Logo weiß">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01E98D16-7064-413E-90AB-794918023785}"/>
              </a:ext>
            </a:extLst>
          </p:cNvPr>
          <p:cNvGraphicFramePr>
            <a:graphicFrameLocks noChangeAspect="1"/>
          </p:cNvGraphicFramePr>
          <p:nvPr userDrawn="1">
            <p:custDataLst>
              <p:tags r:id="rId1"/>
            </p:custDataLst>
            <p:extLst>
              <p:ext uri="{D42A27DB-BD31-4B8C-83A1-F6EECF244321}">
                <p14:modId xmlns:p14="http://schemas.microsoft.com/office/powerpoint/2010/main" val="26058871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5" name="Objekt 4" hidden="1">
                        <a:extLst>
                          <a:ext uri="{FF2B5EF4-FFF2-40B4-BE49-F238E27FC236}">
                            <a16:creationId xmlns:a16="http://schemas.microsoft.com/office/drawing/2014/main" id="{01E98D16-7064-413E-90AB-79491802378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Rechteck 15">
            <a:extLst>
              <a:ext uri="{FF2B5EF4-FFF2-40B4-BE49-F238E27FC236}">
                <a16:creationId xmlns:a16="http://schemas.microsoft.com/office/drawing/2014/main" id="{0C2A6393-2D0C-48A5-949A-F8459F9CCB0F}"/>
              </a:ext>
            </a:extLst>
          </p:cNvPr>
          <p:cNvSpPr>
            <a:spLocks/>
          </p:cNvSpPr>
          <p:nvPr userDrawn="1"/>
        </p:nvSpPr>
        <p:spPr bwMode="gray">
          <a:xfrm>
            <a:off x="200439" y="2558374"/>
            <a:ext cx="7153671" cy="4087923"/>
          </a:xfrm>
          <a:prstGeom prst="rect">
            <a:avLst/>
          </a:prstGeom>
          <a:solidFill>
            <a:srgbClr val="2F4D72"/>
          </a:solidFill>
          <a:ln w="9525" cap="flat">
            <a:noFill/>
            <a:prstDash val="solid"/>
            <a:miter/>
          </a:ln>
        </p:spPr>
        <p:txBody>
          <a:bodyPr wrap="square" rtlCol="0" anchor="ctr">
            <a:noAutofit/>
          </a:bodyPr>
          <a:lstStyle/>
          <a:p>
            <a:pPr rtl="0"/>
            <a:endParaRPr lang="de-DE" noProof="0" dirty="0">
              <a:solidFill>
                <a:schemeClr val="bg1"/>
              </a:solidFill>
            </a:endParaRPr>
          </a:p>
        </p:txBody>
      </p:sp>
      <p:sp>
        <p:nvSpPr>
          <p:cNvPr id="12" name="Bildplatzhalter 11">
            <a:extLst>
              <a:ext uri="{FF2B5EF4-FFF2-40B4-BE49-F238E27FC236}">
                <a16:creationId xmlns:a16="http://schemas.microsoft.com/office/drawing/2014/main" id="{4729B54F-BB09-4D20-A088-ACFFACA8D9A3}"/>
              </a:ext>
            </a:extLst>
          </p:cNvPr>
          <p:cNvSpPr>
            <a:spLocks noGrp="1"/>
          </p:cNvSpPr>
          <p:nvPr>
            <p:ph type="pic" sz="quarter" idx="14" hasCustomPrompt="1"/>
          </p:nvPr>
        </p:nvSpPr>
        <p:spPr bwMode="gray">
          <a:xfrm>
            <a:off x="200438" y="211702"/>
            <a:ext cx="11791121" cy="6434593"/>
          </a:xfrm>
          <a:custGeom>
            <a:avLst/>
            <a:gdLst>
              <a:gd name="connsiteX0" fmla="*/ 11431877 w 11791121"/>
              <a:gd name="connsiteY0" fmla="*/ 251034 h 6434593"/>
              <a:gd name="connsiteX1" fmla="*/ 10467022 w 11791121"/>
              <a:gd name="connsiteY1" fmla="*/ 411772 h 6434593"/>
              <a:gd name="connsiteX2" fmla="*/ 10298349 w 11791121"/>
              <a:gd name="connsiteY2" fmla="*/ 551410 h 6434593"/>
              <a:gd name="connsiteX3" fmla="*/ 10102195 w 11791121"/>
              <a:gd name="connsiteY3" fmla="*/ 1068040 h 6434593"/>
              <a:gd name="connsiteX4" fmla="*/ 10166670 w 11791121"/>
              <a:gd name="connsiteY4" fmla="*/ 1157996 h 6434593"/>
              <a:gd name="connsiteX5" fmla="*/ 11186765 w 11791121"/>
              <a:gd name="connsiteY5" fmla="*/ 1120777 h 6434593"/>
              <a:gd name="connsiteX6" fmla="*/ 11337442 w 11791121"/>
              <a:gd name="connsiteY6" fmla="*/ 1003465 h 6434593"/>
              <a:gd name="connsiteX7" fmla="*/ 11510845 w 11791121"/>
              <a:gd name="connsiteY7" fmla="*/ 340664 h 6434593"/>
              <a:gd name="connsiteX8" fmla="*/ 11431827 w 11791121"/>
              <a:gd name="connsiteY8" fmla="*/ 251109 h 6434593"/>
              <a:gd name="connsiteX9" fmla="*/ 0 w 11791121"/>
              <a:gd name="connsiteY9" fmla="*/ 0 h 6434593"/>
              <a:gd name="connsiteX10" fmla="*/ 11791121 w 11791121"/>
              <a:gd name="connsiteY10" fmla="*/ 0 h 6434593"/>
              <a:gd name="connsiteX11" fmla="*/ 11791121 w 11791121"/>
              <a:gd name="connsiteY11" fmla="*/ 6434593 h 6434593"/>
              <a:gd name="connsiteX12" fmla="*/ 7701171 w 11791121"/>
              <a:gd name="connsiteY12" fmla="*/ 6434593 h 6434593"/>
              <a:gd name="connsiteX13" fmla="*/ 6146929 w 11791121"/>
              <a:gd name="connsiteY13" fmla="*/ 6434593 h 6434593"/>
              <a:gd name="connsiteX14" fmla="*/ 5530091 w 11791121"/>
              <a:gd name="connsiteY14" fmla="*/ 6434593 h 6434593"/>
              <a:gd name="connsiteX15" fmla="*/ 5547474 w 11791121"/>
              <a:gd name="connsiteY15" fmla="*/ 6368220 h 6434593"/>
              <a:gd name="connsiteX16" fmla="*/ 6335981 w 11791121"/>
              <a:gd name="connsiteY16" fmla="*/ 3354612 h 6434593"/>
              <a:gd name="connsiteX17" fmla="*/ 6004041 w 11791121"/>
              <a:gd name="connsiteY17" fmla="*/ 2829103 h 6434593"/>
              <a:gd name="connsiteX18" fmla="*/ 5878759 w 11791121"/>
              <a:gd name="connsiteY18" fmla="*/ 2838065 h 6434593"/>
              <a:gd name="connsiteX19" fmla="*/ 300908 w 11791121"/>
              <a:gd name="connsiteY19" fmla="*/ 3766983 h 6434593"/>
              <a:gd name="connsiteX20" fmla="*/ 138770 w 11791121"/>
              <a:gd name="connsiteY20" fmla="*/ 3817936 h 6434593"/>
              <a:gd name="connsiteX21" fmla="*/ 2 w 11791121"/>
              <a:gd name="connsiteY21" fmla="*/ 3876402 h 6434593"/>
              <a:gd name="connsiteX22" fmla="*/ 2 w 11791121"/>
              <a:gd name="connsiteY22" fmla="*/ 6434593 h 6434593"/>
              <a:gd name="connsiteX23" fmla="*/ 0 w 11791121"/>
              <a:gd name="connsiteY23" fmla="*/ 6434593 h 6434593"/>
              <a:gd name="connsiteX24" fmla="*/ 0 w 11791121"/>
              <a:gd name="connsiteY24" fmla="*/ 2346670 h 64345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1791121" h="6434593">
                <a:moveTo>
                  <a:pt x="11431877" y="251034"/>
                </a:moveTo>
                <a:cubicBezTo>
                  <a:pt x="11369530" y="260720"/>
                  <a:pt x="10531773" y="394351"/>
                  <a:pt x="10467022" y="411772"/>
                </a:cubicBezTo>
                <a:cubicBezTo>
                  <a:pt x="10388855" y="432746"/>
                  <a:pt x="10337771" y="472843"/>
                  <a:pt x="10298349" y="551410"/>
                </a:cubicBezTo>
                <a:cubicBezTo>
                  <a:pt x="10258928" y="629977"/>
                  <a:pt x="10121092" y="1016480"/>
                  <a:pt x="10102195" y="1068040"/>
                </a:cubicBezTo>
                <a:cubicBezTo>
                  <a:pt x="10083298" y="1119601"/>
                  <a:pt x="10108827" y="1160298"/>
                  <a:pt x="10166670" y="1157996"/>
                </a:cubicBezTo>
                <a:cubicBezTo>
                  <a:pt x="10222135" y="1155718"/>
                  <a:pt x="11186765" y="1120777"/>
                  <a:pt x="11186765" y="1120777"/>
                </a:cubicBezTo>
                <a:cubicBezTo>
                  <a:pt x="11277722" y="1116697"/>
                  <a:pt x="11321924" y="1062884"/>
                  <a:pt x="11337442" y="1003465"/>
                </a:cubicBezTo>
                <a:cubicBezTo>
                  <a:pt x="11337442" y="1003465"/>
                  <a:pt x="11495127" y="401535"/>
                  <a:pt x="11510845" y="340664"/>
                </a:cubicBezTo>
                <a:cubicBezTo>
                  <a:pt x="11527189" y="277740"/>
                  <a:pt x="11493099" y="241597"/>
                  <a:pt x="11431827" y="251109"/>
                </a:cubicBezTo>
                <a:close/>
                <a:moveTo>
                  <a:pt x="0" y="0"/>
                </a:moveTo>
                <a:lnTo>
                  <a:pt x="11791121" y="0"/>
                </a:lnTo>
                <a:lnTo>
                  <a:pt x="11791121" y="6434593"/>
                </a:lnTo>
                <a:lnTo>
                  <a:pt x="7701171" y="6434593"/>
                </a:lnTo>
                <a:lnTo>
                  <a:pt x="6146929" y="6434593"/>
                </a:lnTo>
                <a:lnTo>
                  <a:pt x="5530091" y="6434593"/>
                </a:lnTo>
                <a:lnTo>
                  <a:pt x="5547474" y="6368220"/>
                </a:lnTo>
                <a:cubicBezTo>
                  <a:pt x="5822877" y="5316638"/>
                  <a:pt x="6273312" y="3596337"/>
                  <a:pt x="6335981" y="3354612"/>
                </a:cubicBezTo>
                <a:cubicBezTo>
                  <a:pt x="6418276" y="3035567"/>
                  <a:pt x="6277902" y="2836165"/>
                  <a:pt x="6004041" y="2829103"/>
                </a:cubicBezTo>
                <a:cubicBezTo>
                  <a:pt x="5964917" y="2828094"/>
                  <a:pt x="5923070" y="2831011"/>
                  <a:pt x="5878759" y="2838065"/>
                </a:cubicBezTo>
                <a:cubicBezTo>
                  <a:pt x="5518477" y="2893047"/>
                  <a:pt x="675658" y="3665699"/>
                  <a:pt x="300908" y="3766983"/>
                </a:cubicBezTo>
                <a:cubicBezTo>
                  <a:pt x="244479" y="3782175"/>
                  <a:pt x="190491" y="3799086"/>
                  <a:pt x="138770" y="3817936"/>
                </a:cubicBezTo>
                <a:lnTo>
                  <a:pt x="2" y="3876402"/>
                </a:lnTo>
                <a:lnTo>
                  <a:pt x="2" y="6434593"/>
                </a:lnTo>
                <a:lnTo>
                  <a:pt x="0" y="6434593"/>
                </a:lnTo>
                <a:lnTo>
                  <a:pt x="0" y="2346670"/>
                </a:lnTo>
                <a:close/>
              </a:path>
            </a:pathLst>
          </a:custGeom>
          <a:solidFill>
            <a:schemeClr val="bg2"/>
          </a:solidFill>
        </p:spPr>
        <p:txBody>
          <a:bodyPr wrap="square" lIns="108014" tIns="36005">
            <a:noAutofit/>
          </a:bodyPr>
          <a:lstStyle>
            <a:lvl1pPr>
              <a:spcAft>
                <a:spcPts val="0"/>
              </a:spcAft>
              <a:defRPr sz="1600" b="0">
                <a:sym typeface="Wingdings" panose="05000000000000000000" pitchFamily="2" charset="2"/>
              </a:defRPr>
            </a:lvl1pPr>
          </a:lstStyle>
          <a:p>
            <a:r>
              <a:rPr lang="de-DE" noProof="0" dirty="0"/>
              <a:t>Hier geht’s zur Bilder-Bibliothek:  Schnellzugriff  </a:t>
            </a:r>
            <a:r>
              <a:rPr lang="de-DE" noProof="0" dirty="0" err="1"/>
              <a:t>PPT_Bilder_Vorlagen</a:t>
            </a:r>
            <a:endParaRPr lang="de-DE" noProof="0" dirty="0"/>
          </a:p>
        </p:txBody>
      </p:sp>
      <p:sp>
        <p:nvSpPr>
          <p:cNvPr id="2" name="Titel 1">
            <a:extLst>
              <a:ext uri="{FF2B5EF4-FFF2-40B4-BE49-F238E27FC236}">
                <a16:creationId xmlns:a16="http://schemas.microsoft.com/office/drawing/2014/main" id="{5E46ADA1-AF22-413A-A734-CCC1D9AD7797}"/>
              </a:ext>
            </a:extLst>
          </p:cNvPr>
          <p:cNvSpPr>
            <a:spLocks noGrp="1"/>
          </p:cNvSpPr>
          <p:nvPr>
            <p:ph type="ctrTitle" hasCustomPrompt="1"/>
          </p:nvPr>
        </p:nvSpPr>
        <p:spPr bwMode="gray">
          <a:xfrm>
            <a:off x="1042286" y="4182990"/>
            <a:ext cx="4332989" cy="893771"/>
          </a:xfrm>
        </p:spPr>
        <p:txBody>
          <a:bodyPr vert="horz" anchor="t">
            <a:noAutofit/>
          </a:bodyPr>
          <a:lstStyle>
            <a:lvl1pPr algn="l" rtl="0">
              <a:lnSpc>
                <a:spcPct val="80000"/>
              </a:lnSpc>
              <a:spcBef>
                <a:spcPts val="0"/>
              </a:spcBef>
              <a:spcAft>
                <a:spcPts val="0"/>
              </a:spcAft>
              <a:defRPr sz="3600" b="1">
                <a:solidFill>
                  <a:schemeClr val="accent1"/>
                </a:solidFill>
              </a:defRPr>
            </a:lvl1pPr>
          </a:lstStyle>
          <a:p>
            <a:r>
              <a:rPr lang="de-DE" noProof="0" dirty="0"/>
              <a:t>Schlussformulierung,</a:t>
            </a:r>
            <a:br>
              <a:rPr lang="de-DE" noProof="0" dirty="0"/>
            </a:br>
            <a:r>
              <a:rPr lang="de-DE" noProof="0" dirty="0"/>
              <a:t>max. 2 Zeilen</a:t>
            </a:r>
          </a:p>
        </p:txBody>
      </p:sp>
      <p:sp>
        <p:nvSpPr>
          <p:cNvPr id="3" name="Untertitel 2">
            <a:extLst>
              <a:ext uri="{FF2B5EF4-FFF2-40B4-BE49-F238E27FC236}">
                <a16:creationId xmlns:a16="http://schemas.microsoft.com/office/drawing/2014/main" id="{258D0788-6273-4724-9B62-0B33B18BC6BD}"/>
              </a:ext>
            </a:extLst>
          </p:cNvPr>
          <p:cNvSpPr>
            <a:spLocks noGrp="1"/>
          </p:cNvSpPr>
          <p:nvPr>
            <p:ph type="subTitle" idx="1" hasCustomPrompt="1"/>
          </p:nvPr>
        </p:nvSpPr>
        <p:spPr bwMode="gray">
          <a:xfrm>
            <a:off x="1042285" y="5177005"/>
            <a:ext cx="4332988" cy="553998"/>
          </a:xfrm>
        </p:spPr>
        <p:txBody>
          <a:bodyPr>
            <a:noAutofit/>
          </a:bodyPr>
          <a:lstStyle>
            <a:lvl1pPr marL="0" indent="0" algn="l" rtl="0">
              <a:spcBef>
                <a:spcPts val="0"/>
              </a:spcBef>
              <a:spcAft>
                <a:spcPts val="0"/>
              </a:spcAft>
              <a:buNone/>
              <a:defRPr sz="1800" b="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noProof="0" dirty="0"/>
              <a:t>Untertitel, </a:t>
            </a:r>
            <a:br>
              <a:rPr lang="de-DE" noProof="0" dirty="0"/>
            </a:br>
            <a:r>
              <a:rPr lang="de-DE" noProof="0" dirty="0"/>
              <a:t>max. 2 Zeilen</a:t>
            </a:r>
          </a:p>
        </p:txBody>
      </p:sp>
      <p:sp>
        <p:nvSpPr>
          <p:cNvPr id="9" name="Textplatzhalter 8">
            <a:extLst>
              <a:ext uri="{FF2B5EF4-FFF2-40B4-BE49-F238E27FC236}">
                <a16:creationId xmlns:a16="http://schemas.microsoft.com/office/drawing/2014/main" id="{F963E73E-C3B7-4B41-882B-6480581EA544}"/>
              </a:ext>
            </a:extLst>
          </p:cNvPr>
          <p:cNvSpPr>
            <a:spLocks noGrp="1"/>
          </p:cNvSpPr>
          <p:nvPr>
            <p:ph type="body" sz="quarter" idx="13" hasCustomPrompt="1"/>
          </p:nvPr>
        </p:nvSpPr>
        <p:spPr bwMode="gray">
          <a:xfrm>
            <a:off x="1042286" y="5903220"/>
            <a:ext cx="4332988" cy="184666"/>
          </a:xfrm>
        </p:spPr>
        <p:txBody>
          <a:bodyPr>
            <a:noAutofit/>
          </a:bodyPr>
          <a:lstStyle>
            <a:lvl1pPr rtl="0">
              <a:spcBef>
                <a:spcPts val="0"/>
              </a:spcBef>
              <a:spcAft>
                <a:spcPts val="0"/>
              </a:spcAft>
              <a:defRPr sz="1200" b="0">
                <a:solidFill>
                  <a:schemeClr val="bg1"/>
                </a:solidFill>
              </a:defRPr>
            </a:lvl1pPr>
          </a:lstStyle>
          <a:p>
            <a:pPr lvl="0"/>
            <a:r>
              <a:rPr lang="de-DE" noProof="0" dirty="0"/>
              <a:t>Name, Abteilung | Ort, Datum</a:t>
            </a:r>
          </a:p>
        </p:txBody>
      </p:sp>
      <p:sp>
        <p:nvSpPr>
          <p:cNvPr id="13" name="Freihandform: Form 12">
            <a:extLst>
              <a:ext uri="{FF2B5EF4-FFF2-40B4-BE49-F238E27FC236}">
                <a16:creationId xmlns:a16="http://schemas.microsoft.com/office/drawing/2014/main" id="{6E926275-ED70-4B80-8456-79A6A955E83E}"/>
              </a:ext>
            </a:extLst>
          </p:cNvPr>
          <p:cNvSpPr/>
          <p:nvPr userDrawn="1"/>
        </p:nvSpPr>
        <p:spPr>
          <a:xfrm>
            <a:off x="10442163" y="762329"/>
            <a:ext cx="977020" cy="497591"/>
          </a:xfrm>
          <a:custGeom>
            <a:avLst/>
            <a:gdLst>
              <a:gd name="connsiteX0" fmla="*/ 514353 w 977020"/>
              <a:gd name="connsiteY0" fmla="*/ 411433 h 497591"/>
              <a:gd name="connsiteX1" fmla="*/ 495255 w 977020"/>
              <a:gd name="connsiteY1" fmla="*/ 414837 h 497591"/>
              <a:gd name="connsiteX2" fmla="*/ 482040 w 977020"/>
              <a:gd name="connsiteY2" fmla="*/ 422346 h 497591"/>
              <a:gd name="connsiteX3" fmla="*/ 477034 w 977020"/>
              <a:gd name="connsiteY3" fmla="*/ 434861 h 497591"/>
              <a:gd name="connsiteX4" fmla="*/ 483291 w 977020"/>
              <a:gd name="connsiteY4" fmla="*/ 451305 h 497591"/>
              <a:gd name="connsiteX5" fmla="*/ 500587 w 977020"/>
              <a:gd name="connsiteY5" fmla="*/ 457162 h 497591"/>
              <a:gd name="connsiteX6" fmla="*/ 524014 w 977020"/>
              <a:gd name="connsiteY6" fmla="*/ 450554 h 497591"/>
              <a:gd name="connsiteX7" fmla="*/ 536879 w 977020"/>
              <a:gd name="connsiteY7" fmla="*/ 436363 h 497591"/>
              <a:gd name="connsiteX8" fmla="*/ 536879 w 977020"/>
              <a:gd name="connsiteY8" fmla="*/ 411809 h 497591"/>
              <a:gd name="connsiteX9" fmla="*/ 514353 w 977020"/>
              <a:gd name="connsiteY9" fmla="*/ 411433 h 497591"/>
              <a:gd name="connsiteX10" fmla="*/ 823064 w 977020"/>
              <a:gd name="connsiteY10" fmla="*/ 305384 h 497591"/>
              <a:gd name="connsiteX11" fmla="*/ 971288 w 977020"/>
              <a:gd name="connsiteY11" fmla="*/ 305384 h 497591"/>
              <a:gd name="connsiteX12" fmla="*/ 971288 w 977020"/>
              <a:gd name="connsiteY12" fmla="*/ 347033 h 497591"/>
              <a:gd name="connsiteX13" fmla="*/ 897552 w 977020"/>
              <a:gd name="connsiteY13" fmla="*/ 438215 h 497591"/>
              <a:gd name="connsiteX14" fmla="*/ 878655 w 977020"/>
              <a:gd name="connsiteY14" fmla="*/ 452957 h 497591"/>
              <a:gd name="connsiteX15" fmla="*/ 971263 w 977020"/>
              <a:gd name="connsiteY15" fmla="*/ 452957 h 497591"/>
              <a:gd name="connsiteX16" fmla="*/ 971263 w 977020"/>
              <a:gd name="connsiteY16" fmla="*/ 494556 h 497591"/>
              <a:gd name="connsiteX17" fmla="*/ 823064 w 977020"/>
              <a:gd name="connsiteY17" fmla="*/ 494556 h 497591"/>
              <a:gd name="connsiteX18" fmla="*/ 823064 w 977020"/>
              <a:gd name="connsiteY18" fmla="*/ 452957 h 497591"/>
              <a:gd name="connsiteX19" fmla="*/ 897552 w 977020"/>
              <a:gd name="connsiteY19" fmla="*/ 363352 h 497591"/>
              <a:gd name="connsiteX20" fmla="*/ 916824 w 977020"/>
              <a:gd name="connsiteY20" fmla="*/ 347083 h 497591"/>
              <a:gd name="connsiteX21" fmla="*/ 823064 w 977020"/>
              <a:gd name="connsiteY21" fmla="*/ 347083 h 497591"/>
              <a:gd name="connsiteX22" fmla="*/ 517607 w 977020"/>
              <a:gd name="connsiteY22" fmla="*/ 301705 h 497591"/>
              <a:gd name="connsiteX23" fmla="*/ 550495 w 977020"/>
              <a:gd name="connsiteY23" fmla="*/ 306435 h 497591"/>
              <a:gd name="connsiteX24" fmla="*/ 582457 w 977020"/>
              <a:gd name="connsiteY24" fmla="*/ 340650 h 497591"/>
              <a:gd name="connsiteX25" fmla="*/ 585686 w 977020"/>
              <a:gd name="connsiteY25" fmla="*/ 367882 h 497591"/>
              <a:gd name="connsiteX26" fmla="*/ 584535 w 977020"/>
              <a:gd name="connsiteY26" fmla="*/ 401346 h 497591"/>
              <a:gd name="connsiteX27" fmla="*/ 583183 w 977020"/>
              <a:gd name="connsiteY27" fmla="*/ 434435 h 497591"/>
              <a:gd name="connsiteX28" fmla="*/ 584109 w 977020"/>
              <a:gd name="connsiteY28" fmla="*/ 465997 h 497591"/>
              <a:gd name="connsiteX29" fmla="*/ 589791 w 977020"/>
              <a:gd name="connsiteY29" fmla="*/ 494931 h 497591"/>
              <a:gd name="connsiteX30" fmla="*/ 549744 w 977020"/>
              <a:gd name="connsiteY30" fmla="*/ 494931 h 497591"/>
              <a:gd name="connsiteX31" fmla="*/ 541785 w 977020"/>
              <a:gd name="connsiteY31" fmla="*/ 468851 h 497591"/>
              <a:gd name="connsiteX32" fmla="*/ 539908 w 977020"/>
              <a:gd name="connsiteY32" fmla="*/ 468851 h 497591"/>
              <a:gd name="connsiteX33" fmla="*/ 518933 w 977020"/>
              <a:gd name="connsiteY33" fmla="*/ 489074 h 497591"/>
              <a:gd name="connsiteX34" fmla="*/ 484317 w 977020"/>
              <a:gd name="connsiteY34" fmla="*/ 497584 h 497591"/>
              <a:gd name="connsiteX35" fmla="*/ 460490 w 977020"/>
              <a:gd name="connsiteY35" fmla="*/ 493605 h 497591"/>
              <a:gd name="connsiteX36" fmla="*/ 430505 w 977020"/>
              <a:gd name="connsiteY36" fmla="*/ 464871 h 497591"/>
              <a:gd name="connsiteX37" fmla="*/ 426350 w 977020"/>
              <a:gd name="connsiteY37" fmla="*/ 442345 h 497591"/>
              <a:gd name="connsiteX38" fmla="*/ 434084 w 977020"/>
              <a:gd name="connsiteY38" fmla="*/ 413035 h 497591"/>
              <a:gd name="connsiteX39" fmla="*/ 456410 w 977020"/>
              <a:gd name="connsiteY39" fmla="*/ 393763 h 497591"/>
              <a:gd name="connsiteX40" fmla="*/ 491201 w 977020"/>
              <a:gd name="connsiteY40" fmla="*/ 383551 h 497591"/>
              <a:gd name="connsiteX41" fmla="*/ 536378 w 977020"/>
              <a:gd name="connsiteY41" fmla="*/ 381849 h 497591"/>
              <a:gd name="connsiteX42" fmla="*/ 533350 w 977020"/>
              <a:gd name="connsiteY42" fmla="*/ 351413 h 497591"/>
              <a:gd name="connsiteX43" fmla="*/ 533475 w 977020"/>
              <a:gd name="connsiteY43" fmla="*/ 351438 h 497591"/>
              <a:gd name="connsiteX44" fmla="*/ 508145 w 977020"/>
              <a:gd name="connsiteY44" fmla="*/ 342177 h 497591"/>
              <a:gd name="connsiteX45" fmla="*/ 476959 w 977020"/>
              <a:gd name="connsiteY45" fmla="*/ 345206 h 497591"/>
              <a:gd name="connsiteX46" fmla="*/ 449902 w 977020"/>
              <a:gd name="connsiteY46" fmla="*/ 353140 h 497591"/>
              <a:gd name="connsiteX47" fmla="*/ 438189 w 977020"/>
              <a:gd name="connsiteY47" fmla="*/ 316472 h 497591"/>
              <a:gd name="connsiteX48" fmla="*/ 474105 w 977020"/>
              <a:gd name="connsiteY48" fmla="*/ 305684 h 497591"/>
              <a:gd name="connsiteX49" fmla="*/ 517607 w 977020"/>
              <a:gd name="connsiteY49" fmla="*/ 301705 h 497591"/>
              <a:gd name="connsiteX50" fmla="*/ 339448 w 977020"/>
              <a:gd name="connsiteY50" fmla="*/ 300253 h 497591"/>
              <a:gd name="connsiteX51" fmla="*/ 364477 w 977020"/>
              <a:gd name="connsiteY51" fmla="*/ 304032 h 497591"/>
              <a:gd name="connsiteX52" fmla="*/ 383024 w 977020"/>
              <a:gd name="connsiteY52" fmla="*/ 316547 h 497591"/>
              <a:gd name="connsiteX53" fmla="*/ 394362 w 977020"/>
              <a:gd name="connsiteY53" fmla="*/ 340175 h 497591"/>
              <a:gd name="connsiteX54" fmla="*/ 397966 w 977020"/>
              <a:gd name="connsiteY54" fmla="*/ 377068 h 497591"/>
              <a:gd name="connsiteX55" fmla="*/ 397966 w 977020"/>
              <a:gd name="connsiteY55" fmla="*/ 494706 h 497591"/>
              <a:gd name="connsiteX56" fmla="*/ 348909 w 977020"/>
              <a:gd name="connsiteY56" fmla="*/ 494706 h 497591"/>
              <a:gd name="connsiteX57" fmla="*/ 348909 w 977020"/>
              <a:gd name="connsiteY57" fmla="*/ 387080 h 497591"/>
              <a:gd name="connsiteX58" fmla="*/ 342276 w 977020"/>
              <a:gd name="connsiteY58" fmla="*/ 353816 h 497591"/>
              <a:gd name="connsiteX59" fmla="*/ 319750 w 977020"/>
              <a:gd name="connsiteY59" fmla="*/ 343604 h 497591"/>
              <a:gd name="connsiteX60" fmla="*/ 296097 w 977020"/>
              <a:gd name="connsiteY60" fmla="*/ 351738 h 497591"/>
              <a:gd name="connsiteX61" fmla="*/ 282306 w 977020"/>
              <a:gd name="connsiteY61" fmla="*/ 371962 h 497591"/>
              <a:gd name="connsiteX62" fmla="*/ 282306 w 977020"/>
              <a:gd name="connsiteY62" fmla="*/ 494481 h 497591"/>
              <a:gd name="connsiteX63" fmla="*/ 233198 w 977020"/>
              <a:gd name="connsiteY63" fmla="*/ 494481 h 497591"/>
              <a:gd name="connsiteX64" fmla="*/ 233198 w 977020"/>
              <a:gd name="connsiteY64" fmla="*/ 305484 h 497591"/>
              <a:gd name="connsiteX65" fmla="*/ 272144 w 977020"/>
              <a:gd name="connsiteY65" fmla="*/ 305484 h 497591"/>
              <a:gd name="connsiteX66" fmla="*/ 277826 w 977020"/>
              <a:gd name="connsiteY66" fmla="*/ 330514 h 497591"/>
              <a:gd name="connsiteX67" fmla="*/ 279327 w 977020"/>
              <a:gd name="connsiteY67" fmla="*/ 330514 h 497591"/>
              <a:gd name="connsiteX68" fmla="*/ 302404 w 977020"/>
              <a:gd name="connsiteY68" fmla="*/ 309339 h 497591"/>
              <a:gd name="connsiteX69" fmla="*/ 339448 w 977020"/>
              <a:gd name="connsiteY69" fmla="*/ 300253 h 497591"/>
              <a:gd name="connsiteX70" fmla="*/ 733109 w 977020"/>
              <a:gd name="connsiteY70" fmla="*/ 300228 h 497591"/>
              <a:gd name="connsiteX71" fmla="*/ 758138 w 977020"/>
              <a:gd name="connsiteY71" fmla="*/ 304007 h 497591"/>
              <a:gd name="connsiteX72" fmla="*/ 776685 w 977020"/>
              <a:gd name="connsiteY72" fmla="*/ 316522 h 497591"/>
              <a:gd name="connsiteX73" fmla="*/ 788023 w 977020"/>
              <a:gd name="connsiteY73" fmla="*/ 340150 h 497591"/>
              <a:gd name="connsiteX74" fmla="*/ 791678 w 977020"/>
              <a:gd name="connsiteY74" fmla="*/ 377068 h 497591"/>
              <a:gd name="connsiteX75" fmla="*/ 791678 w 977020"/>
              <a:gd name="connsiteY75" fmla="*/ 494706 h 497591"/>
              <a:gd name="connsiteX76" fmla="*/ 742520 w 977020"/>
              <a:gd name="connsiteY76" fmla="*/ 494706 h 497591"/>
              <a:gd name="connsiteX77" fmla="*/ 742520 w 977020"/>
              <a:gd name="connsiteY77" fmla="*/ 387080 h 497591"/>
              <a:gd name="connsiteX78" fmla="*/ 735912 w 977020"/>
              <a:gd name="connsiteY78" fmla="*/ 353816 h 497591"/>
              <a:gd name="connsiteX79" fmla="*/ 713386 w 977020"/>
              <a:gd name="connsiteY79" fmla="*/ 343604 h 497591"/>
              <a:gd name="connsiteX80" fmla="*/ 689758 w 977020"/>
              <a:gd name="connsiteY80" fmla="*/ 351738 h 497591"/>
              <a:gd name="connsiteX81" fmla="*/ 675942 w 977020"/>
              <a:gd name="connsiteY81" fmla="*/ 371962 h 497591"/>
              <a:gd name="connsiteX82" fmla="*/ 675942 w 977020"/>
              <a:gd name="connsiteY82" fmla="*/ 494481 h 497591"/>
              <a:gd name="connsiteX83" fmla="*/ 626810 w 977020"/>
              <a:gd name="connsiteY83" fmla="*/ 494481 h 497591"/>
              <a:gd name="connsiteX84" fmla="*/ 626734 w 977020"/>
              <a:gd name="connsiteY84" fmla="*/ 305459 h 497591"/>
              <a:gd name="connsiteX85" fmla="*/ 665780 w 977020"/>
              <a:gd name="connsiteY85" fmla="*/ 305459 h 497591"/>
              <a:gd name="connsiteX86" fmla="*/ 671462 w 977020"/>
              <a:gd name="connsiteY86" fmla="*/ 330489 h 497591"/>
              <a:gd name="connsiteX87" fmla="*/ 672989 w 977020"/>
              <a:gd name="connsiteY87" fmla="*/ 330489 h 497591"/>
              <a:gd name="connsiteX88" fmla="*/ 696041 w 977020"/>
              <a:gd name="connsiteY88" fmla="*/ 309314 h 497591"/>
              <a:gd name="connsiteX89" fmla="*/ 733109 w 977020"/>
              <a:gd name="connsiteY89" fmla="*/ 300228 h 497591"/>
              <a:gd name="connsiteX90" fmla="*/ 730506 w 977020"/>
              <a:gd name="connsiteY90" fmla="*/ 115762 h 497591"/>
              <a:gd name="connsiteX91" fmla="*/ 699295 w 977020"/>
              <a:gd name="connsiteY91" fmla="*/ 129753 h 497591"/>
              <a:gd name="connsiteX92" fmla="*/ 688907 w 977020"/>
              <a:gd name="connsiteY92" fmla="*/ 177785 h 497591"/>
              <a:gd name="connsiteX93" fmla="*/ 697417 w 977020"/>
              <a:gd name="connsiteY93" fmla="*/ 216730 h 497591"/>
              <a:gd name="connsiteX94" fmla="*/ 724449 w 977020"/>
              <a:gd name="connsiteY94" fmla="*/ 231472 h 497591"/>
              <a:gd name="connsiteX95" fmla="*/ 747125 w 977020"/>
              <a:gd name="connsiteY95" fmla="*/ 224464 h 497591"/>
              <a:gd name="connsiteX96" fmla="*/ 747125 w 977020"/>
              <a:gd name="connsiteY96" fmla="*/ 224389 h 497591"/>
              <a:gd name="connsiteX97" fmla="*/ 758864 w 977020"/>
              <a:gd name="connsiteY97" fmla="*/ 204166 h 497591"/>
              <a:gd name="connsiteX98" fmla="*/ 758864 w 977020"/>
              <a:gd name="connsiteY98" fmla="*/ 124072 h 497591"/>
              <a:gd name="connsiteX99" fmla="*/ 747125 w 977020"/>
              <a:gd name="connsiteY99" fmla="*/ 117839 h 497591"/>
              <a:gd name="connsiteX100" fmla="*/ 730506 w 977020"/>
              <a:gd name="connsiteY100" fmla="*/ 115762 h 497591"/>
              <a:gd name="connsiteX101" fmla="*/ 327108 w 977020"/>
              <a:gd name="connsiteY101" fmla="*/ 114986 h 497591"/>
              <a:gd name="connsiteX102" fmla="*/ 298750 w 977020"/>
              <a:gd name="connsiteY102" fmla="*/ 128602 h 497591"/>
              <a:gd name="connsiteX103" fmla="*/ 288538 w 977020"/>
              <a:gd name="connsiteY103" fmla="*/ 173204 h 497591"/>
              <a:gd name="connsiteX104" fmla="*/ 290816 w 977020"/>
              <a:gd name="connsiteY104" fmla="*/ 196281 h 497591"/>
              <a:gd name="connsiteX105" fmla="*/ 297599 w 977020"/>
              <a:gd name="connsiteY105" fmla="*/ 214803 h 497591"/>
              <a:gd name="connsiteX106" fmla="*/ 309513 w 977020"/>
              <a:gd name="connsiteY106" fmla="*/ 227092 h 497591"/>
              <a:gd name="connsiteX107" fmla="*/ 327033 w 977020"/>
              <a:gd name="connsiteY107" fmla="*/ 231447 h 497591"/>
              <a:gd name="connsiteX108" fmla="*/ 355767 w 977020"/>
              <a:gd name="connsiteY108" fmla="*/ 217456 h 497591"/>
              <a:gd name="connsiteX109" fmla="*/ 355842 w 977020"/>
              <a:gd name="connsiteY109" fmla="*/ 217456 h 497591"/>
              <a:gd name="connsiteX110" fmla="*/ 365303 w 977020"/>
              <a:gd name="connsiteY110" fmla="*/ 173204 h 497591"/>
              <a:gd name="connsiteX111" fmla="*/ 356593 w 977020"/>
              <a:gd name="connsiteY111" fmla="*/ 131055 h 497591"/>
              <a:gd name="connsiteX112" fmla="*/ 327108 w 977020"/>
              <a:gd name="connsiteY112" fmla="*/ 114986 h 497591"/>
              <a:gd name="connsiteX113" fmla="*/ 906262 w 977020"/>
              <a:gd name="connsiteY113" fmla="*/ 73413 h 497591"/>
              <a:gd name="connsiteX114" fmla="*/ 945207 w 977020"/>
              <a:gd name="connsiteY114" fmla="*/ 77968 h 497591"/>
              <a:gd name="connsiteX115" fmla="*/ 972439 w 977020"/>
              <a:gd name="connsiteY115" fmla="*/ 88155 h 497591"/>
              <a:gd name="connsiteX116" fmla="*/ 961477 w 977020"/>
              <a:gd name="connsiteY116" fmla="*/ 123721 h 497591"/>
              <a:gd name="connsiteX117" fmla="*/ 939551 w 977020"/>
              <a:gd name="connsiteY117" fmla="*/ 116538 h 497591"/>
              <a:gd name="connsiteX118" fmla="*/ 912694 w 977020"/>
              <a:gd name="connsiteY118" fmla="*/ 112734 h 497591"/>
              <a:gd name="connsiteX119" fmla="*/ 896250 w 977020"/>
              <a:gd name="connsiteY119" fmla="*/ 116989 h 497591"/>
              <a:gd name="connsiteX120" fmla="*/ 890833 w 977020"/>
              <a:gd name="connsiteY120" fmla="*/ 129603 h 497591"/>
              <a:gd name="connsiteX121" fmla="*/ 890819 w 977020"/>
              <a:gd name="connsiteY121" fmla="*/ 129578 h 497591"/>
              <a:gd name="connsiteX122" fmla="*/ 890769 w 977020"/>
              <a:gd name="connsiteY122" fmla="*/ 129753 h 497591"/>
              <a:gd name="connsiteX123" fmla="*/ 890833 w 977020"/>
              <a:gd name="connsiteY123" fmla="*/ 129603 h 497591"/>
              <a:gd name="connsiteX124" fmla="*/ 897226 w 977020"/>
              <a:gd name="connsiteY124" fmla="*/ 140541 h 497591"/>
              <a:gd name="connsiteX125" fmla="*/ 913120 w 977020"/>
              <a:gd name="connsiteY125" fmla="*/ 148300 h 497591"/>
              <a:gd name="connsiteX126" fmla="*/ 933919 w 977020"/>
              <a:gd name="connsiteY126" fmla="*/ 156059 h 497591"/>
              <a:gd name="connsiteX127" fmla="*/ 954719 w 977020"/>
              <a:gd name="connsiteY127" fmla="*/ 166822 h 497591"/>
              <a:gd name="connsiteX128" fmla="*/ 970612 w 977020"/>
              <a:gd name="connsiteY128" fmla="*/ 184042 h 497591"/>
              <a:gd name="connsiteX129" fmla="*/ 977020 w 977020"/>
              <a:gd name="connsiteY129" fmla="*/ 211249 h 497591"/>
              <a:gd name="connsiteX130" fmla="*/ 958698 w 977020"/>
              <a:gd name="connsiteY130" fmla="*/ 256301 h 497591"/>
              <a:gd name="connsiteX131" fmla="*/ 903634 w 977020"/>
              <a:gd name="connsiteY131" fmla="*/ 272771 h 497591"/>
              <a:gd name="connsiteX132" fmla="*/ 866090 w 977020"/>
              <a:gd name="connsiteY132" fmla="*/ 267765 h 497591"/>
              <a:gd name="connsiteX133" fmla="*/ 837557 w 977020"/>
              <a:gd name="connsiteY133" fmla="*/ 255851 h 497591"/>
              <a:gd name="connsiteX134" fmla="*/ 851122 w 977020"/>
              <a:gd name="connsiteY134" fmla="*/ 219383 h 497591"/>
              <a:gd name="connsiteX135" fmla="*/ 874174 w 977020"/>
              <a:gd name="connsiteY135" fmla="*/ 229020 h 497591"/>
              <a:gd name="connsiteX136" fmla="*/ 903684 w 977020"/>
              <a:gd name="connsiteY136" fmla="*/ 233725 h 497591"/>
              <a:gd name="connsiteX137" fmla="*/ 921204 w 977020"/>
              <a:gd name="connsiteY137" fmla="*/ 229570 h 497591"/>
              <a:gd name="connsiteX138" fmla="*/ 927837 w 977020"/>
              <a:gd name="connsiteY138" fmla="*/ 215604 h 497591"/>
              <a:gd name="connsiteX139" fmla="*/ 921405 w 977020"/>
              <a:gd name="connsiteY139" fmla="*/ 203490 h 497591"/>
              <a:gd name="connsiteX140" fmla="*/ 905511 w 977020"/>
              <a:gd name="connsiteY140" fmla="*/ 195180 h 497591"/>
              <a:gd name="connsiteX141" fmla="*/ 884711 w 977020"/>
              <a:gd name="connsiteY141" fmla="*/ 187421 h 497591"/>
              <a:gd name="connsiteX142" fmla="*/ 863937 w 977020"/>
              <a:gd name="connsiteY142" fmla="*/ 176458 h 497591"/>
              <a:gd name="connsiteX143" fmla="*/ 848044 w 977020"/>
              <a:gd name="connsiteY143" fmla="*/ 158687 h 497591"/>
              <a:gd name="connsiteX144" fmla="*/ 841611 w 977020"/>
              <a:gd name="connsiteY144" fmla="*/ 130880 h 497591"/>
              <a:gd name="connsiteX145" fmla="*/ 858256 w 977020"/>
              <a:gd name="connsiteY145" fmla="*/ 88155 h 497591"/>
              <a:gd name="connsiteX146" fmla="*/ 906262 w 977020"/>
              <a:gd name="connsiteY146" fmla="*/ 73413 h 497591"/>
              <a:gd name="connsiteX147" fmla="*/ 548993 w 977020"/>
              <a:gd name="connsiteY147" fmla="*/ 73413 h 497591"/>
              <a:gd name="connsiteX148" fmla="*/ 574023 w 977020"/>
              <a:gd name="connsiteY148" fmla="*/ 77192 h 497591"/>
              <a:gd name="connsiteX149" fmla="*/ 592544 w 977020"/>
              <a:gd name="connsiteY149" fmla="*/ 89706 h 497591"/>
              <a:gd name="connsiteX150" fmla="*/ 603883 w 977020"/>
              <a:gd name="connsiteY150" fmla="*/ 113334 h 497591"/>
              <a:gd name="connsiteX151" fmla="*/ 607662 w 977020"/>
              <a:gd name="connsiteY151" fmla="*/ 150202 h 497591"/>
              <a:gd name="connsiteX152" fmla="*/ 607537 w 977020"/>
              <a:gd name="connsiteY152" fmla="*/ 267665 h 497591"/>
              <a:gd name="connsiteX153" fmla="*/ 558454 w 977020"/>
              <a:gd name="connsiteY153" fmla="*/ 267665 h 497591"/>
              <a:gd name="connsiteX154" fmla="*/ 558454 w 977020"/>
              <a:gd name="connsiteY154" fmla="*/ 160314 h 497591"/>
              <a:gd name="connsiteX155" fmla="*/ 551847 w 977020"/>
              <a:gd name="connsiteY155" fmla="*/ 127025 h 497591"/>
              <a:gd name="connsiteX156" fmla="*/ 529320 w 977020"/>
              <a:gd name="connsiteY156" fmla="*/ 116838 h 497591"/>
              <a:gd name="connsiteX157" fmla="*/ 505693 w 977020"/>
              <a:gd name="connsiteY157" fmla="*/ 124948 h 497591"/>
              <a:gd name="connsiteX158" fmla="*/ 491876 w 977020"/>
              <a:gd name="connsiteY158" fmla="*/ 145171 h 497591"/>
              <a:gd name="connsiteX159" fmla="*/ 491876 w 977020"/>
              <a:gd name="connsiteY159" fmla="*/ 267690 h 497591"/>
              <a:gd name="connsiteX160" fmla="*/ 442744 w 977020"/>
              <a:gd name="connsiteY160" fmla="*/ 267690 h 497591"/>
              <a:gd name="connsiteX161" fmla="*/ 442744 w 977020"/>
              <a:gd name="connsiteY161" fmla="*/ 78644 h 497591"/>
              <a:gd name="connsiteX162" fmla="*/ 481689 w 977020"/>
              <a:gd name="connsiteY162" fmla="*/ 78644 h 497591"/>
              <a:gd name="connsiteX163" fmla="*/ 487371 w 977020"/>
              <a:gd name="connsiteY163" fmla="*/ 103673 h 497591"/>
              <a:gd name="connsiteX164" fmla="*/ 488873 w 977020"/>
              <a:gd name="connsiteY164" fmla="*/ 103673 h 497591"/>
              <a:gd name="connsiteX165" fmla="*/ 511950 w 977020"/>
              <a:gd name="connsiteY165" fmla="*/ 82498 h 497591"/>
              <a:gd name="connsiteX166" fmla="*/ 548993 w 977020"/>
              <a:gd name="connsiteY166" fmla="*/ 73413 h 497591"/>
              <a:gd name="connsiteX167" fmla="*/ 327008 w 977020"/>
              <a:gd name="connsiteY167" fmla="*/ 73337 h 497591"/>
              <a:gd name="connsiteX168" fmla="*/ 366329 w 977020"/>
              <a:gd name="connsiteY168" fmla="*/ 80521 h 497591"/>
              <a:gd name="connsiteX169" fmla="*/ 393862 w 977020"/>
              <a:gd name="connsiteY169" fmla="*/ 100769 h 497591"/>
              <a:gd name="connsiteX170" fmla="*/ 410481 w 977020"/>
              <a:gd name="connsiteY170" fmla="*/ 132331 h 497591"/>
              <a:gd name="connsiteX171" fmla="*/ 415963 w 977020"/>
              <a:gd name="connsiteY171" fmla="*/ 173154 h 497591"/>
              <a:gd name="connsiteX172" fmla="*/ 415812 w 977020"/>
              <a:gd name="connsiteY172" fmla="*/ 173154 h 497591"/>
              <a:gd name="connsiteX173" fmla="*/ 392560 w 977020"/>
              <a:gd name="connsiteY173" fmla="*/ 247091 h 497591"/>
              <a:gd name="connsiteX174" fmla="*/ 326958 w 977020"/>
              <a:gd name="connsiteY174" fmla="*/ 272996 h 497591"/>
              <a:gd name="connsiteX175" fmla="*/ 287837 w 977020"/>
              <a:gd name="connsiteY175" fmla="*/ 265813 h 497591"/>
              <a:gd name="connsiteX176" fmla="*/ 260030 w 977020"/>
              <a:gd name="connsiteY176" fmla="*/ 245589 h 497591"/>
              <a:gd name="connsiteX177" fmla="*/ 243410 w 977020"/>
              <a:gd name="connsiteY177" fmla="*/ 214002 h 497591"/>
              <a:gd name="connsiteX178" fmla="*/ 237779 w 977020"/>
              <a:gd name="connsiteY178" fmla="*/ 173154 h 497591"/>
              <a:gd name="connsiteX179" fmla="*/ 261206 w 977020"/>
              <a:gd name="connsiteY179" fmla="*/ 99243 h 497591"/>
              <a:gd name="connsiteX180" fmla="*/ 327008 w 977020"/>
              <a:gd name="connsiteY180" fmla="*/ 73337 h 497591"/>
              <a:gd name="connsiteX181" fmla="*/ 758864 w 977020"/>
              <a:gd name="connsiteY181" fmla="*/ 3005 h 497591"/>
              <a:gd name="connsiteX182" fmla="*/ 808022 w 977020"/>
              <a:gd name="connsiteY182" fmla="*/ 3005 h 497591"/>
              <a:gd name="connsiteX183" fmla="*/ 808022 w 977020"/>
              <a:gd name="connsiteY183" fmla="*/ 201137 h 497591"/>
              <a:gd name="connsiteX184" fmla="*/ 808397 w 977020"/>
              <a:gd name="connsiteY184" fmla="*/ 232924 h 497591"/>
              <a:gd name="connsiteX185" fmla="*/ 811801 w 977020"/>
              <a:gd name="connsiteY185" fmla="*/ 267965 h 497591"/>
              <a:gd name="connsiteX186" fmla="*/ 811726 w 977020"/>
              <a:gd name="connsiteY186" fmla="*/ 268040 h 497591"/>
              <a:gd name="connsiteX187" fmla="*/ 776685 w 977020"/>
              <a:gd name="connsiteY187" fmla="*/ 268040 h 497591"/>
              <a:gd name="connsiteX188" fmla="*/ 769877 w 977020"/>
              <a:gd name="connsiteY188" fmla="*/ 243462 h 497591"/>
              <a:gd name="connsiteX189" fmla="*/ 768400 w 977020"/>
              <a:gd name="connsiteY189" fmla="*/ 243462 h 497591"/>
              <a:gd name="connsiteX190" fmla="*/ 746650 w 977020"/>
              <a:gd name="connsiteY190" fmla="*/ 264837 h 497591"/>
              <a:gd name="connsiteX191" fmla="*/ 713186 w 977020"/>
              <a:gd name="connsiteY191" fmla="*/ 272971 h 497591"/>
              <a:gd name="connsiteX192" fmla="*/ 657971 w 977020"/>
              <a:gd name="connsiteY192" fmla="*/ 249519 h 497591"/>
              <a:gd name="connsiteX193" fmla="*/ 638248 w 977020"/>
              <a:gd name="connsiteY193" fmla="*/ 176183 h 497591"/>
              <a:gd name="connsiteX194" fmla="*/ 660199 w 977020"/>
              <a:gd name="connsiteY194" fmla="*/ 100945 h 497591"/>
              <a:gd name="connsiteX195" fmla="*/ 724449 w 977020"/>
              <a:gd name="connsiteY195" fmla="*/ 74213 h 497591"/>
              <a:gd name="connsiteX196" fmla="*/ 743721 w 977020"/>
              <a:gd name="connsiteY196" fmla="*/ 75565 h 497591"/>
              <a:gd name="connsiteX197" fmla="*/ 758864 w 977020"/>
              <a:gd name="connsiteY197" fmla="*/ 79895 h 497591"/>
              <a:gd name="connsiteX198" fmla="*/ 198107 w 977020"/>
              <a:gd name="connsiteY198" fmla="*/ 1 h 497591"/>
              <a:gd name="connsiteX199" fmla="*/ 248416 w 977020"/>
              <a:gd name="connsiteY199" fmla="*/ 7185 h 497591"/>
              <a:gd name="connsiteX200" fmla="*/ 248516 w 977020"/>
              <a:gd name="connsiteY200" fmla="*/ 7185 h 497591"/>
              <a:gd name="connsiteX201" fmla="*/ 239055 w 977020"/>
              <a:gd name="connsiteY201" fmla="*/ 46506 h 497591"/>
              <a:gd name="connsiteX202" fmla="*/ 223737 w 977020"/>
              <a:gd name="connsiteY202" fmla="*/ 42526 h 497591"/>
              <a:gd name="connsiteX203" fmla="*/ 209946 w 977020"/>
              <a:gd name="connsiteY203" fmla="*/ 41575 h 497591"/>
              <a:gd name="connsiteX204" fmla="*/ 198032 w 977020"/>
              <a:gd name="connsiteY204" fmla="*/ 43853 h 497591"/>
              <a:gd name="connsiteX205" fmla="*/ 191600 w 977020"/>
              <a:gd name="connsiteY205" fmla="*/ 50861 h 497591"/>
              <a:gd name="connsiteX206" fmla="*/ 188947 w 977020"/>
              <a:gd name="connsiteY206" fmla="*/ 62575 h 497591"/>
              <a:gd name="connsiteX207" fmla="*/ 188371 w 977020"/>
              <a:gd name="connsiteY207" fmla="*/ 78644 h 497591"/>
              <a:gd name="connsiteX208" fmla="*/ 229970 w 977020"/>
              <a:gd name="connsiteY208" fmla="*/ 78644 h 497591"/>
              <a:gd name="connsiteX209" fmla="*/ 229970 w 977020"/>
              <a:gd name="connsiteY209" fmla="*/ 120217 h 497591"/>
              <a:gd name="connsiteX210" fmla="*/ 188371 w 977020"/>
              <a:gd name="connsiteY210" fmla="*/ 120217 h 497591"/>
              <a:gd name="connsiteX211" fmla="*/ 188371 w 977020"/>
              <a:gd name="connsiteY211" fmla="*/ 243236 h 497591"/>
              <a:gd name="connsiteX212" fmla="*/ 172752 w 977020"/>
              <a:gd name="connsiteY212" fmla="*/ 280104 h 497591"/>
              <a:gd name="connsiteX213" fmla="*/ 147723 w 977020"/>
              <a:gd name="connsiteY213" fmla="*/ 270894 h 497591"/>
              <a:gd name="connsiteX214" fmla="*/ 116712 w 977020"/>
              <a:gd name="connsiteY214" fmla="*/ 267690 h 497591"/>
              <a:gd name="connsiteX215" fmla="*/ 98941 w 977020"/>
              <a:gd name="connsiteY215" fmla="*/ 270193 h 497591"/>
              <a:gd name="connsiteX216" fmla="*/ 88354 w 977020"/>
              <a:gd name="connsiteY216" fmla="*/ 277376 h 497591"/>
              <a:gd name="connsiteX217" fmla="*/ 83348 w 977020"/>
              <a:gd name="connsiteY217" fmla="*/ 289290 h 497591"/>
              <a:gd name="connsiteX218" fmla="*/ 82221 w 977020"/>
              <a:gd name="connsiteY218" fmla="*/ 305534 h 497591"/>
              <a:gd name="connsiteX219" fmla="*/ 188471 w 977020"/>
              <a:gd name="connsiteY219" fmla="*/ 305534 h 497591"/>
              <a:gd name="connsiteX220" fmla="*/ 188471 w 977020"/>
              <a:gd name="connsiteY220" fmla="*/ 494606 h 497591"/>
              <a:gd name="connsiteX221" fmla="*/ 139439 w 977020"/>
              <a:gd name="connsiteY221" fmla="*/ 494606 h 497591"/>
              <a:gd name="connsiteX222" fmla="*/ 139439 w 977020"/>
              <a:gd name="connsiteY222" fmla="*/ 347033 h 497591"/>
              <a:gd name="connsiteX223" fmla="*/ 82347 w 977020"/>
              <a:gd name="connsiteY223" fmla="*/ 347033 h 497591"/>
              <a:gd name="connsiteX224" fmla="*/ 82347 w 977020"/>
              <a:gd name="connsiteY224" fmla="*/ 494506 h 497591"/>
              <a:gd name="connsiteX225" fmla="*/ 33189 w 977020"/>
              <a:gd name="connsiteY225" fmla="*/ 494506 h 497591"/>
              <a:gd name="connsiteX226" fmla="*/ 33189 w 977020"/>
              <a:gd name="connsiteY226" fmla="*/ 347033 h 497591"/>
              <a:gd name="connsiteX227" fmla="*/ 0 w 977020"/>
              <a:gd name="connsiteY227" fmla="*/ 347033 h 497591"/>
              <a:gd name="connsiteX228" fmla="*/ 0 w 977020"/>
              <a:gd name="connsiteY228" fmla="*/ 305484 h 497591"/>
              <a:gd name="connsiteX229" fmla="*/ 33189 w 977020"/>
              <a:gd name="connsiteY229" fmla="*/ 305484 h 497591"/>
              <a:gd name="connsiteX230" fmla="*/ 33189 w 977020"/>
              <a:gd name="connsiteY230" fmla="*/ 294897 h 497591"/>
              <a:gd name="connsiteX231" fmla="*/ 51711 w 977020"/>
              <a:gd name="connsiteY231" fmla="*/ 242535 h 497591"/>
              <a:gd name="connsiteX232" fmla="*/ 105399 w 977020"/>
              <a:gd name="connsiteY232" fmla="*/ 226091 h 497591"/>
              <a:gd name="connsiteX233" fmla="*/ 139238 w 977020"/>
              <a:gd name="connsiteY233" fmla="*/ 228094 h 497591"/>
              <a:gd name="connsiteX234" fmla="*/ 139238 w 977020"/>
              <a:gd name="connsiteY234" fmla="*/ 120217 h 497591"/>
              <a:gd name="connsiteX235" fmla="*/ 113133 w 977020"/>
              <a:gd name="connsiteY235" fmla="*/ 120217 h 497591"/>
              <a:gd name="connsiteX236" fmla="*/ 113133 w 977020"/>
              <a:gd name="connsiteY236" fmla="*/ 78644 h 497591"/>
              <a:gd name="connsiteX237" fmla="*/ 139238 w 977020"/>
              <a:gd name="connsiteY237" fmla="*/ 78644 h 497591"/>
              <a:gd name="connsiteX238" fmla="*/ 139238 w 977020"/>
              <a:gd name="connsiteY238" fmla="*/ 68056 h 497591"/>
              <a:gd name="connsiteX239" fmla="*/ 154256 w 977020"/>
              <a:gd name="connsiteY239" fmla="*/ 16045 h 497591"/>
              <a:gd name="connsiteX240" fmla="*/ 198107 w 977020"/>
              <a:gd name="connsiteY240" fmla="*/ 1 h 4975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Lst>
            <a:rect l="l" t="t" r="r" b="b"/>
            <a:pathLst>
              <a:path w="977020" h="497591">
                <a:moveTo>
                  <a:pt x="514353" y="411433"/>
                </a:moveTo>
                <a:cubicBezTo>
                  <a:pt x="507878" y="411826"/>
                  <a:pt x="501468" y="412970"/>
                  <a:pt x="495255" y="414837"/>
                </a:cubicBezTo>
                <a:cubicBezTo>
                  <a:pt x="490312" y="416247"/>
                  <a:pt x="485782" y="418822"/>
                  <a:pt x="482040" y="422346"/>
                </a:cubicBezTo>
                <a:cubicBezTo>
                  <a:pt x="478706" y="425640"/>
                  <a:pt x="476891" y="430175"/>
                  <a:pt x="477034" y="434861"/>
                </a:cubicBezTo>
                <a:cubicBezTo>
                  <a:pt x="476666" y="440986"/>
                  <a:pt x="478944" y="446975"/>
                  <a:pt x="483291" y="451305"/>
                </a:cubicBezTo>
                <a:cubicBezTo>
                  <a:pt x="488062" y="455457"/>
                  <a:pt x="494274" y="457562"/>
                  <a:pt x="500587" y="457162"/>
                </a:cubicBezTo>
                <a:cubicBezTo>
                  <a:pt x="510423" y="457162"/>
                  <a:pt x="518107" y="454984"/>
                  <a:pt x="524014" y="450554"/>
                </a:cubicBezTo>
                <a:cubicBezTo>
                  <a:pt x="529253" y="446780"/>
                  <a:pt x="533635" y="441944"/>
                  <a:pt x="536879" y="436363"/>
                </a:cubicBezTo>
                <a:lnTo>
                  <a:pt x="536879" y="411809"/>
                </a:lnTo>
                <a:cubicBezTo>
                  <a:pt x="529393" y="411075"/>
                  <a:pt x="521859" y="410948"/>
                  <a:pt x="514353" y="411433"/>
                </a:cubicBezTo>
                <a:close/>
                <a:moveTo>
                  <a:pt x="823064" y="305384"/>
                </a:moveTo>
                <a:lnTo>
                  <a:pt x="971288" y="305384"/>
                </a:lnTo>
                <a:lnTo>
                  <a:pt x="971288" y="347033"/>
                </a:lnTo>
                <a:lnTo>
                  <a:pt x="897552" y="438215"/>
                </a:lnTo>
                <a:lnTo>
                  <a:pt x="878655" y="452957"/>
                </a:lnTo>
                <a:lnTo>
                  <a:pt x="971263" y="452957"/>
                </a:lnTo>
                <a:lnTo>
                  <a:pt x="971263" y="494556"/>
                </a:lnTo>
                <a:lnTo>
                  <a:pt x="823064" y="494556"/>
                </a:lnTo>
                <a:lnTo>
                  <a:pt x="823064" y="452957"/>
                </a:lnTo>
                <a:lnTo>
                  <a:pt x="897552" y="363352"/>
                </a:lnTo>
                <a:lnTo>
                  <a:pt x="916824" y="347083"/>
                </a:lnTo>
                <a:lnTo>
                  <a:pt x="823064" y="347083"/>
                </a:lnTo>
                <a:close/>
                <a:moveTo>
                  <a:pt x="517607" y="301705"/>
                </a:moveTo>
                <a:cubicBezTo>
                  <a:pt x="528757" y="301412"/>
                  <a:pt x="539878" y="303011"/>
                  <a:pt x="550495" y="306435"/>
                </a:cubicBezTo>
                <a:cubicBezTo>
                  <a:pt x="566414" y="311441"/>
                  <a:pt x="578545" y="324426"/>
                  <a:pt x="582457" y="340650"/>
                </a:cubicBezTo>
                <a:cubicBezTo>
                  <a:pt x="584695" y="349551"/>
                  <a:pt x="585781" y="358704"/>
                  <a:pt x="585686" y="367882"/>
                </a:cubicBezTo>
                <a:cubicBezTo>
                  <a:pt x="585686" y="378978"/>
                  <a:pt x="585303" y="390133"/>
                  <a:pt x="584535" y="401346"/>
                </a:cubicBezTo>
                <a:cubicBezTo>
                  <a:pt x="583767" y="412560"/>
                  <a:pt x="583316" y="423590"/>
                  <a:pt x="583183" y="434435"/>
                </a:cubicBezTo>
                <a:cubicBezTo>
                  <a:pt x="583051" y="445265"/>
                  <a:pt x="583359" y="455785"/>
                  <a:pt x="584109" y="465997"/>
                </a:cubicBezTo>
                <a:cubicBezTo>
                  <a:pt x="584805" y="475839"/>
                  <a:pt x="586713" y="485558"/>
                  <a:pt x="589791" y="494931"/>
                </a:cubicBezTo>
                <a:lnTo>
                  <a:pt x="549744" y="494931"/>
                </a:lnTo>
                <a:lnTo>
                  <a:pt x="541785" y="468851"/>
                </a:lnTo>
                <a:lnTo>
                  <a:pt x="539908" y="468851"/>
                </a:lnTo>
                <a:cubicBezTo>
                  <a:pt x="534469" y="477038"/>
                  <a:pt x="527313" y="483938"/>
                  <a:pt x="518933" y="489074"/>
                </a:cubicBezTo>
                <a:cubicBezTo>
                  <a:pt x="509973" y="494748"/>
                  <a:pt x="498434" y="497584"/>
                  <a:pt x="484317" y="497584"/>
                </a:cubicBezTo>
                <a:cubicBezTo>
                  <a:pt x="476201" y="497704"/>
                  <a:pt x="468129" y="496355"/>
                  <a:pt x="460490" y="493605"/>
                </a:cubicBezTo>
                <a:cubicBezTo>
                  <a:pt x="446861" y="488729"/>
                  <a:pt x="435956" y="478279"/>
                  <a:pt x="430505" y="464871"/>
                </a:cubicBezTo>
                <a:cubicBezTo>
                  <a:pt x="427636" y="457712"/>
                  <a:pt x="426225" y="450054"/>
                  <a:pt x="426350" y="442345"/>
                </a:cubicBezTo>
                <a:cubicBezTo>
                  <a:pt x="426007" y="432028"/>
                  <a:pt x="428695" y="421838"/>
                  <a:pt x="434084" y="413035"/>
                </a:cubicBezTo>
                <a:cubicBezTo>
                  <a:pt x="439680" y="404740"/>
                  <a:pt x="447387" y="398090"/>
                  <a:pt x="456410" y="393763"/>
                </a:cubicBezTo>
                <a:cubicBezTo>
                  <a:pt x="467370" y="388479"/>
                  <a:pt x="479124" y="385030"/>
                  <a:pt x="491201" y="383551"/>
                </a:cubicBezTo>
                <a:cubicBezTo>
                  <a:pt x="506176" y="381608"/>
                  <a:pt x="521298" y="381040"/>
                  <a:pt x="536378" y="381849"/>
                </a:cubicBezTo>
                <a:cubicBezTo>
                  <a:pt x="538131" y="367732"/>
                  <a:pt x="537122" y="357588"/>
                  <a:pt x="533350" y="351413"/>
                </a:cubicBezTo>
                <a:lnTo>
                  <a:pt x="533475" y="351438"/>
                </a:lnTo>
                <a:cubicBezTo>
                  <a:pt x="529703" y="345263"/>
                  <a:pt x="521261" y="342177"/>
                  <a:pt x="508145" y="342177"/>
                </a:cubicBezTo>
                <a:cubicBezTo>
                  <a:pt x="497678" y="342235"/>
                  <a:pt x="487241" y="343248"/>
                  <a:pt x="476959" y="345206"/>
                </a:cubicBezTo>
                <a:cubicBezTo>
                  <a:pt x="467645" y="346715"/>
                  <a:pt x="458557" y="349381"/>
                  <a:pt x="449902" y="353140"/>
                </a:cubicBezTo>
                <a:lnTo>
                  <a:pt x="438189" y="316472"/>
                </a:lnTo>
                <a:cubicBezTo>
                  <a:pt x="449699" y="311491"/>
                  <a:pt x="461753" y="307869"/>
                  <a:pt x="474105" y="305684"/>
                </a:cubicBezTo>
                <a:cubicBezTo>
                  <a:pt x="488447" y="302986"/>
                  <a:pt x="503012" y="301655"/>
                  <a:pt x="517607" y="301705"/>
                </a:cubicBezTo>
                <a:close/>
                <a:moveTo>
                  <a:pt x="339448" y="300253"/>
                </a:moveTo>
                <a:cubicBezTo>
                  <a:pt x="347943" y="300121"/>
                  <a:pt x="356400" y="301397"/>
                  <a:pt x="364477" y="304032"/>
                </a:cubicBezTo>
                <a:cubicBezTo>
                  <a:pt x="371666" y="306475"/>
                  <a:pt x="378068" y="310795"/>
                  <a:pt x="383024" y="316547"/>
                </a:cubicBezTo>
                <a:cubicBezTo>
                  <a:pt x="388595" y="323430"/>
                  <a:pt x="392478" y="331522"/>
                  <a:pt x="394362" y="340175"/>
                </a:cubicBezTo>
                <a:cubicBezTo>
                  <a:pt x="397048" y="352282"/>
                  <a:pt x="398257" y="364671"/>
                  <a:pt x="397966" y="377068"/>
                </a:cubicBezTo>
                <a:lnTo>
                  <a:pt x="397966" y="494706"/>
                </a:lnTo>
                <a:lnTo>
                  <a:pt x="348909" y="494706"/>
                </a:lnTo>
                <a:lnTo>
                  <a:pt x="348909" y="387080"/>
                </a:lnTo>
                <a:cubicBezTo>
                  <a:pt x="348909" y="371712"/>
                  <a:pt x="346699" y="360624"/>
                  <a:pt x="342276" y="353816"/>
                </a:cubicBezTo>
                <a:cubicBezTo>
                  <a:pt x="337853" y="347008"/>
                  <a:pt x="330345" y="343604"/>
                  <a:pt x="319750" y="343604"/>
                </a:cubicBezTo>
                <a:cubicBezTo>
                  <a:pt x="311140" y="343361"/>
                  <a:pt x="302735" y="346250"/>
                  <a:pt x="296097" y="351738"/>
                </a:cubicBezTo>
                <a:cubicBezTo>
                  <a:pt x="289737" y="357090"/>
                  <a:pt x="284967" y="364085"/>
                  <a:pt x="282306" y="371962"/>
                </a:cubicBezTo>
                <a:lnTo>
                  <a:pt x="282306" y="494481"/>
                </a:lnTo>
                <a:lnTo>
                  <a:pt x="233198" y="494481"/>
                </a:lnTo>
                <a:lnTo>
                  <a:pt x="233198" y="305484"/>
                </a:lnTo>
                <a:lnTo>
                  <a:pt x="272144" y="305484"/>
                </a:lnTo>
                <a:lnTo>
                  <a:pt x="277826" y="330514"/>
                </a:lnTo>
                <a:lnTo>
                  <a:pt x="279327" y="330514"/>
                </a:lnTo>
                <a:cubicBezTo>
                  <a:pt x="285570" y="322024"/>
                  <a:pt x="293409" y="314830"/>
                  <a:pt x="302404" y="309339"/>
                </a:cubicBezTo>
                <a:cubicBezTo>
                  <a:pt x="311966" y="303282"/>
                  <a:pt x="324313" y="300253"/>
                  <a:pt x="339448" y="300253"/>
                </a:cubicBezTo>
                <a:close/>
                <a:moveTo>
                  <a:pt x="733109" y="300228"/>
                </a:moveTo>
                <a:cubicBezTo>
                  <a:pt x="741604" y="300093"/>
                  <a:pt x="750061" y="301369"/>
                  <a:pt x="758138" y="304007"/>
                </a:cubicBezTo>
                <a:cubicBezTo>
                  <a:pt x="765327" y="306450"/>
                  <a:pt x="771729" y="310770"/>
                  <a:pt x="776685" y="316522"/>
                </a:cubicBezTo>
                <a:cubicBezTo>
                  <a:pt x="782257" y="323405"/>
                  <a:pt x="786139" y="331497"/>
                  <a:pt x="788023" y="340150"/>
                </a:cubicBezTo>
                <a:cubicBezTo>
                  <a:pt x="790739" y="352261"/>
                  <a:pt x="791966" y="364659"/>
                  <a:pt x="791678" y="377068"/>
                </a:cubicBezTo>
                <a:lnTo>
                  <a:pt x="791678" y="494706"/>
                </a:lnTo>
                <a:lnTo>
                  <a:pt x="742520" y="494706"/>
                </a:lnTo>
                <a:lnTo>
                  <a:pt x="742520" y="387080"/>
                </a:lnTo>
                <a:cubicBezTo>
                  <a:pt x="742520" y="371712"/>
                  <a:pt x="740317" y="360624"/>
                  <a:pt x="735912" y="353816"/>
                </a:cubicBezTo>
                <a:cubicBezTo>
                  <a:pt x="731507" y="347008"/>
                  <a:pt x="723998" y="343604"/>
                  <a:pt x="713386" y="343604"/>
                </a:cubicBezTo>
                <a:cubicBezTo>
                  <a:pt x="704783" y="343354"/>
                  <a:pt x="696383" y="346247"/>
                  <a:pt x="689758" y="351738"/>
                </a:cubicBezTo>
                <a:cubicBezTo>
                  <a:pt x="683383" y="357082"/>
                  <a:pt x="678603" y="364081"/>
                  <a:pt x="675942" y="371962"/>
                </a:cubicBezTo>
                <a:lnTo>
                  <a:pt x="675942" y="494481"/>
                </a:lnTo>
                <a:lnTo>
                  <a:pt x="626810" y="494481"/>
                </a:lnTo>
                <a:lnTo>
                  <a:pt x="626734" y="305459"/>
                </a:lnTo>
                <a:lnTo>
                  <a:pt x="665780" y="305459"/>
                </a:lnTo>
                <a:lnTo>
                  <a:pt x="671462" y="330489"/>
                </a:lnTo>
                <a:lnTo>
                  <a:pt x="672989" y="330489"/>
                </a:lnTo>
                <a:cubicBezTo>
                  <a:pt x="679216" y="321991"/>
                  <a:pt x="687048" y="314798"/>
                  <a:pt x="696041" y="309314"/>
                </a:cubicBezTo>
                <a:cubicBezTo>
                  <a:pt x="705602" y="303257"/>
                  <a:pt x="717959" y="300228"/>
                  <a:pt x="733109" y="300228"/>
                </a:cubicBezTo>
                <a:close/>
                <a:moveTo>
                  <a:pt x="730506" y="115762"/>
                </a:moveTo>
                <a:cubicBezTo>
                  <a:pt x="716640" y="115762"/>
                  <a:pt x="706235" y="120425"/>
                  <a:pt x="699295" y="129753"/>
                </a:cubicBezTo>
                <a:cubicBezTo>
                  <a:pt x="692354" y="139082"/>
                  <a:pt x="688890" y="155091"/>
                  <a:pt x="688907" y="177785"/>
                </a:cubicBezTo>
                <a:cubicBezTo>
                  <a:pt x="688907" y="193903"/>
                  <a:pt x="691743" y="206886"/>
                  <a:pt x="697417" y="216730"/>
                </a:cubicBezTo>
                <a:cubicBezTo>
                  <a:pt x="703091" y="226574"/>
                  <a:pt x="712102" y="231490"/>
                  <a:pt x="724449" y="231472"/>
                </a:cubicBezTo>
                <a:cubicBezTo>
                  <a:pt x="734028" y="231472"/>
                  <a:pt x="741586" y="229137"/>
                  <a:pt x="747125" y="224464"/>
                </a:cubicBezTo>
                <a:lnTo>
                  <a:pt x="747125" y="224389"/>
                </a:lnTo>
                <a:cubicBezTo>
                  <a:pt x="753083" y="219061"/>
                  <a:pt x="757192" y="211980"/>
                  <a:pt x="758864" y="204166"/>
                </a:cubicBezTo>
                <a:lnTo>
                  <a:pt x="758864" y="124072"/>
                </a:lnTo>
                <a:cubicBezTo>
                  <a:pt x="755340" y="121333"/>
                  <a:pt x="751368" y="119224"/>
                  <a:pt x="747125" y="117839"/>
                </a:cubicBezTo>
                <a:cubicBezTo>
                  <a:pt x="741722" y="116310"/>
                  <a:pt x="736120" y="115609"/>
                  <a:pt x="730506" y="115762"/>
                </a:cubicBezTo>
                <a:close/>
                <a:moveTo>
                  <a:pt x="327108" y="114986"/>
                </a:moveTo>
                <a:cubicBezTo>
                  <a:pt x="315978" y="114513"/>
                  <a:pt x="305340" y="119619"/>
                  <a:pt x="298750" y="128602"/>
                </a:cubicBezTo>
                <a:cubicBezTo>
                  <a:pt x="291942" y="137680"/>
                  <a:pt x="288538" y="152548"/>
                  <a:pt x="288538" y="173204"/>
                </a:cubicBezTo>
                <a:cubicBezTo>
                  <a:pt x="288476" y="180956"/>
                  <a:pt x="289239" y="188692"/>
                  <a:pt x="290816" y="196281"/>
                </a:cubicBezTo>
                <a:cubicBezTo>
                  <a:pt x="292117" y="202766"/>
                  <a:pt x="294405" y="209011"/>
                  <a:pt x="297599" y="214803"/>
                </a:cubicBezTo>
                <a:cubicBezTo>
                  <a:pt x="300410" y="219884"/>
                  <a:pt x="304522" y="224126"/>
                  <a:pt x="309513" y="227092"/>
                </a:cubicBezTo>
                <a:cubicBezTo>
                  <a:pt x="314854" y="230093"/>
                  <a:pt x="320909" y="231600"/>
                  <a:pt x="327033" y="231447"/>
                </a:cubicBezTo>
                <a:cubicBezTo>
                  <a:pt x="339898" y="231447"/>
                  <a:pt x="349477" y="226784"/>
                  <a:pt x="355767" y="217456"/>
                </a:cubicBezTo>
                <a:lnTo>
                  <a:pt x="355842" y="217456"/>
                </a:lnTo>
                <a:cubicBezTo>
                  <a:pt x="362149" y="208145"/>
                  <a:pt x="365303" y="193396"/>
                  <a:pt x="365303" y="173204"/>
                </a:cubicBezTo>
                <a:cubicBezTo>
                  <a:pt x="365303" y="155834"/>
                  <a:pt x="362400" y="141785"/>
                  <a:pt x="356593" y="131055"/>
                </a:cubicBezTo>
                <a:cubicBezTo>
                  <a:pt x="350786" y="120325"/>
                  <a:pt x="340957" y="114969"/>
                  <a:pt x="327108" y="114986"/>
                </a:cubicBezTo>
                <a:close/>
                <a:moveTo>
                  <a:pt x="906262" y="73413"/>
                </a:moveTo>
                <a:cubicBezTo>
                  <a:pt x="919385" y="73265"/>
                  <a:pt x="932473" y="74797"/>
                  <a:pt x="945207" y="77968"/>
                </a:cubicBezTo>
                <a:cubicBezTo>
                  <a:pt x="954689" y="80168"/>
                  <a:pt x="963842" y="83592"/>
                  <a:pt x="972439" y="88155"/>
                </a:cubicBezTo>
                <a:lnTo>
                  <a:pt x="961477" y="123721"/>
                </a:lnTo>
                <a:cubicBezTo>
                  <a:pt x="955670" y="121436"/>
                  <a:pt x="948361" y="119041"/>
                  <a:pt x="939551" y="116538"/>
                </a:cubicBezTo>
                <a:cubicBezTo>
                  <a:pt x="930821" y="114020"/>
                  <a:pt x="921780" y="112738"/>
                  <a:pt x="912694" y="112734"/>
                </a:cubicBezTo>
                <a:cubicBezTo>
                  <a:pt x="905386" y="112734"/>
                  <a:pt x="899904" y="114152"/>
                  <a:pt x="896250" y="116989"/>
                </a:cubicBezTo>
                <a:lnTo>
                  <a:pt x="890833" y="129603"/>
                </a:lnTo>
                <a:lnTo>
                  <a:pt x="890819" y="129578"/>
                </a:lnTo>
                <a:lnTo>
                  <a:pt x="890769" y="129753"/>
                </a:lnTo>
                <a:lnTo>
                  <a:pt x="890833" y="129603"/>
                </a:lnTo>
                <a:lnTo>
                  <a:pt x="897226" y="140541"/>
                </a:lnTo>
                <a:cubicBezTo>
                  <a:pt x="902237" y="143680"/>
                  <a:pt x="907563" y="146280"/>
                  <a:pt x="913120" y="148300"/>
                </a:cubicBezTo>
                <a:cubicBezTo>
                  <a:pt x="919427" y="150703"/>
                  <a:pt x="926360" y="153288"/>
                  <a:pt x="933919" y="156059"/>
                </a:cubicBezTo>
                <a:cubicBezTo>
                  <a:pt x="941288" y="158735"/>
                  <a:pt x="948279" y="162352"/>
                  <a:pt x="954719" y="166822"/>
                </a:cubicBezTo>
                <a:cubicBezTo>
                  <a:pt x="961161" y="171390"/>
                  <a:pt x="966575" y="177256"/>
                  <a:pt x="970612" y="184042"/>
                </a:cubicBezTo>
                <a:cubicBezTo>
                  <a:pt x="974900" y="191100"/>
                  <a:pt x="977037" y="200168"/>
                  <a:pt x="977020" y="211249"/>
                </a:cubicBezTo>
                <a:cubicBezTo>
                  <a:pt x="977020" y="230421"/>
                  <a:pt x="970913" y="245439"/>
                  <a:pt x="958698" y="256301"/>
                </a:cubicBezTo>
                <a:cubicBezTo>
                  <a:pt x="946484" y="267164"/>
                  <a:pt x="928130" y="272653"/>
                  <a:pt x="903634" y="272771"/>
                </a:cubicBezTo>
                <a:cubicBezTo>
                  <a:pt x="890946" y="272881"/>
                  <a:pt x="878307" y="271197"/>
                  <a:pt x="866090" y="267765"/>
                </a:cubicBezTo>
                <a:cubicBezTo>
                  <a:pt x="856091" y="265084"/>
                  <a:pt x="846494" y="261077"/>
                  <a:pt x="837557" y="255851"/>
                </a:cubicBezTo>
                <a:lnTo>
                  <a:pt x="851122" y="219383"/>
                </a:lnTo>
                <a:cubicBezTo>
                  <a:pt x="858486" y="223316"/>
                  <a:pt x="866202" y="226542"/>
                  <a:pt x="874174" y="229020"/>
                </a:cubicBezTo>
                <a:cubicBezTo>
                  <a:pt x="883696" y="232156"/>
                  <a:pt x="893659" y="233743"/>
                  <a:pt x="903684" y="233725"/>
                </a:cubicBezTo>
                <a:cubicBezTo>
                  <a:pt x="909798" y="234016"/>
                  <a:pt x="915871" y="232576"/>
                  <a:pt x="921204" y="229570"/>
                </a:cubicBezTo>
                <a:cubicBezTo>
                  <a:pt x="925609" y="226817"/>
                  <a:pt x="927837" y="222061"/>
                  <a:pt x="927837" y="215604"/>
                </a:cubicBezTo>
                <a:cubicBezTo>
                  <a:pt x="927925" y="210726"/>
                  <a:pt x="925494" y="206148"/>
                  <a:pt x="921405" y="203490"/>
                </a:cubicBezTo>
                <a:cubicBezTo>
                  <a:pt x="916446" y="200116"/>
                  <a:pt x="911113" y="197327"/>
                  <a:pt x="905511" y="195180"/>
                </a:cubicBezTo>
                <a:cubicBezTo>
                  <a:pt x="899203" y="192660"/>
                  <a:pt x="892271" y="190074"/>
                  <a:pt x="884711" y="187421"/>
                </a:cubicBezTo>
                <a:cubicBezTo>
                  <a:pt x="877271" y="184845"/>
                  <a:pt x="870265" y="181149"/>
                  <a:pt x="863937" y="176458"/>
                </a:cubicBezTo>
                <a:cubicBezTo>
                  <a:pt x="857495" y="171667"/>
                  <a:pt x="852088" y="165623"/>
                  <a:pt x="848044" y="158687"/>
                </a:cubicBezTo>
                <a:cubicBezTo>
                  <a:pt x="843739" y="151496"/>
                  <a:pt x="841593" y="142226"/>
                  <a:pt x="841611" y="130880"/>
                </a:cubicBezTo>
                <a:cubicBezTo>
                  <a:pt x="841611" y="112240"/>
                  <a:pt x="847160" y="97999"/>
                  <a:pt x="858256" y="88155"/>
                </a:cubicBezTo>
                <a:cubicBezTo>
                  <a:pt x="869351" y="78311"/>
                  <a:pt x="885355" y="73395"/>
                  <a:pt x="906262" y="73413"/>
                </a:cubicBezTo>
                <a:close/>
                <a:moveTo>
                  <a:pt x="548993" y="73413"/>
                </a:moveTo>
                <a:cubicBezTo>
                  <a:pt x="557488" y="73285"/>
                  <a:pt x="565946" y="74561"/>
                  <a:pt x="574023" y="77192"/>
                </a:cubicBezTo>
                <a:cubicBezTo>
                  <a:pt x="581199" y="79645"/>
                  <a:pt x="587591" y="83965"/>
                  <a:pt x="592544" y="89706"/>
                </a:cubicBezTo>
                <a:cubicBezTo>
                  <a:pt x="598111" y="96592"/>
                  <a:pt x="601993" y="104684"/>
                  <a:pt x="603883" y="113334"/>
                </a:cubicBezTo>
                <a:cubicBezTo>
                  <a:pt x="606623" y="125426"/>
                  <a:pt x="607892" y="137805"/>
                  <a:pt x="607662" y="150202"/>
                </a:cubicBezTo>
                <a:lnTo>
                  <a:pt x="607537" y="267665"/>
                </a:lnTo>
                <a:lnTo>
                  <a:pt x="558454" y="267665"/>
                </a:lnTo>
                <a:lnTo>
                  <a:pt x="558454" y="160314"/>
                </a:lnTo>
                <a:cubicBezTo>
                  <a:pt x="558454" y="144946"/>
                  <a:pt x="556252" y="133851"/>
                  <a:pt x="551847" y="127025"/>
                </a:cubicBezTo>
                <a:cubicBezTo>
                  <a:pt x="547442" y="120200"/>
                  <a:pt x="539933" y="116806"/>
                  <a:pt x="529320" y="116838"/>
                </a:cubicBezTo>
                <a:cubicBezTo>
                  <a:pt x="520723" y="116585"/>
                  <a:pt x="512325" y="119469"/>
                  <a:pt x="505693" y="124948"/>
                </a:cubicBezTo>
                <a:cubicBezTo>
                  <a:pt x="499318" y="130291"/>
                  <a:pt x="494537" y="137290"/>
                  <a:pt x="491876" y="145171"/>
                </a:cubicBezTo>
                <a:lnTo>
                  <a:pt x="491876" y="267690"/>
                </a:lnTo>
                <a:lnTo>
                  <a:pt x="442744" y="267690"/>
                </a:lnTo>
                <a:lnTo>
                  <a:pt x="442744" y="78644"/>
                </a:lnTo>
                <a:lnTo>
                  <a:pt x="481689" y="78644"/>
                </a:lnTo>
                <a:lnTo>
                  <a:pt x="487371" y="103673"/>
                </a:lnTo>
                <a:lnTo>
                  <a:pt x="488873" y="103673"/>
                </a:lnTo>
                <a:cubicBezTo>
                  <a:pt x="495123" y="95188"/>
                  <a:pt x="502959" y="87997"/>
                  <a:pt x="511950" y="82498"/>
                </a:cubicBezTo>
                <a:cubicBezTo>
                  <a:pt x="521529" y="76441"/>
                  <a:pt x="533876" y="73413"/>
                  <a:pt x="548993" y="73413"/>
                </a:cubicBezTo>
                <a:close/>
                <a:moveTo>
                  <a:pt x="327008" y="73337"/>
                </a:moveTo>
                <a:cubicBezTo>
                  <a:pt x="340467" y="73027"/>
                  <a:pt x="353850" y="75472"/>
                  <a:pt x="366329" y="80521"/>
                </a:cubicBezTo>
                <a:cubicBezTo>
                  <a:pt x="376964" y="85021"/>
                  <a:pt x="386395" y="91957"/>
                  <a:pt x="393862" y="100769"/>
                </a:cubicBezTo>
                <a:cubicBezTo>
                  <a:pt x="401535" y="110020"/>
                  <a:pt x="407195" y="120770"/>
                  <a:pt x="410481" y="132331"/>
                </a:cubicBezTo>
                <a:cubicBezTo>
                  <a:pt x="414261" y="145604"/>
                  <a:pt x="416108" y="159353"/>
                  <a:pt x="415963" y="173154"/>
                </a:cubicBezTo>
                <a:lnTo>
                  <a:pt x="415812" y="173154"/>
                </a:lnTo>
                <a:cubicBezTo>
                  <a:pt x="415812" y="205192"/>
                  <a:pt x="408061" y="229838"/>
                  <a:pt x="392560" y="247091"/>
                </a:cubicBezTo>
                <a:cubicBezTo>
                  <a:pt x="377059" y="264343"/>
                  <a:pt x="355191" y="272978"/>
                  <a:pt x="326958" y="272996"/>
                </a:cubicBezTo>
                <a:cubicBezTo>
                  <a:pt x="313565" y="273279"/>
                  <a:pt x="300257" y="270834"/>
                  <a:pt x="287837" y="265813"/>
                </a:cubicBezTo>
                <a:cubicBezTo>
                  <a:pt x="277137" y="261300"/>
                  <a:pt x="267621" y="254379"/>
                  <a:pt x="260030" y="245589"/>
                </a:cubicBezTo>
                <a:cubicBezTo>
                  <a:pt x="252308" y="236361"/>
                  <a:pt x="246642" y="225593"/>
                  <a:pt x="243410" y="214002"/>
                </a:cubicBezTo>
                <a:cubicBezTo>
                  <a:pt x="239576" y="200729"/>
                  <a:pt x="237679" y="186970"/>
                  <a:pt x="237779" y="173154"/>
                </a:cubicBezTo>
                <a:cubicBezTo>
                  <a:pt x="237779" y="141167"/>
                  <a:pt x="245588" y="116530"/>
                  <a:pt x="261206" y="99243"/>
                </a:cubicBezTo>
                <a:cubicBezTo>
                  <a:pt x="276825" y="81955"/>
                  <a:pt x="298758" y="73320"/>
                  <a:pt x="327008" y="73337"/>
                </a:cubicBezTo>
                <a:close/>
                <a:moveTo>
                  <a:pt x="758864" y="3005"/>
                </a:moveTo>
                <a:lnTo>
                  <a:pt x="808022" y="3005"/>
                </a:lnTo>
                <a:lnTo>
                  <a:pt x="808022" y="201137"/>
                </a:lnTo>
                <a:cubicBezTo>
                  <a:pt x="808022" y="211750"/>
                  <a:pt x="808022" y="222312"/>
                  <a:pt x="808397" y="232924"/>
                </a:cubicBezTo>
                <a:cubicBezTo>
                  <a:pt x="808763" y="244666"/>
                  <a:pt x="809899" y="256372"/>
                  <a:pt x="811801" y="267965"/>
                </a:cubicBezTo>
                <a:lnTo>
                  <a:pt x="811726" y="268040"/>
                </a:lnTo>
                <a:lnTo>
                  <a:pt x="776685" y="268040"/>
                </a:lnTo>
                <a:lnTo>
                  <a:pt x="769877" y="243462"/>
                </a:lnTo>
                <a:lnTo>
                  <a:pt x="768400" y="243462"/>
                </a:lnTo>
                <a:cubicBezTo>
                  <a:pt x="763224" y="252429"/>
                  <a:pt x="755705" y="259818"/>
                  <a:pt x="746650" y="264837"/>
                </a:cubicBezTo>
                <a:cubicBezTo>
                  <a:pt x="736405" y="270446"/>
                  <a:pt x="724862" y="273252"/>
                  <a:pt x="713186" y="272971"/>
                </a:cubicBezTo>
                <a:cubicBezTo>
                  <a:pt x="689475" y="272971"/>
                  <a:pt x="671069" y="265154"/>
                  <a:pt x="657971" y="249519"/>
                </a:cubicBezTo>
                <a:cubicBezTo>
                  <a:pt x="644873" y="233883"/>
                  <a:pt x="638298" y="209439"/>
                  <a:pt x="638248" y="176183"/>
                </a:cubicBezTo>
                <a:cubicBezTo>
                  <a:pt x="638248" y="143927"/>
                  <a:pt x="645564" y="118848"/>
                  <a:pt x="660199" y="100945"/>
                </a:cubicBezTo>
                <a:cubicBezTo>
                  <a:pt x="674833" y="83041"/>
                  <a:pt x="696248" y="74131"/>
                  <a:pt x="724449" y="74213"/>
                </a:cubicBezTo>
                <a:cubicBezTo>
                  <a:pt x="730899" y="74111"/>
                  <a:pt x="737349" y="74564"/>
                  <a:pt x="743721" y="75565"/>
                </a:cubicBezTo>
                <a:cubicBezTo>
                  <a:pt x="748907" y="76471"/>
                  <a:pt x="753983" y="77923"/>
                  <a:pt x="758864" y="79895"/>
                </a:cubicBezTo>
                <a:close/>
                <a:moveTo>
                  <a:pt x="198107" y="1"/>
                </a:moveTo>
                <a:cubicBezTo>
                  <a:pt x="218281" y="1"/>
                  <a:pt x="235051" y="2397"/>
                  <a:pt x="248416" y="7185"/>
                </a:cubicBezTo>
                <a:lnTo>
                  <a:pt x="248516" y="7185"/>
                </a:lnTo>
                <a:lnTo>
                  <a:pt x="239055" y="46506"/>
                </a:lnTo>
                <a:cubicBezTo>
                  <a:pt x="234087" y="44694"/>
                  <a:pt x="228958" y="43360"/>
                  <a:pt x="223737" y="42526"/>
                </a:cubicBezTo>
                <a:cubicBezTo>
                  <a:pt x="219169" y="41886"/>
                  <a:pt x="214559" y="41568"/>
                  <a:pt x="209946" y="41575"/>
                </a:cubicBezTo>
                <a:cubicBezTo>
                  <a:pt x="205851" y="41387"/>
                  <a:pt x="201769" y="42166"/>
                  <a:pt x="198032" y="43853"/>
                </a:cubicBezTo>
                <a:cubicBezTo>
                  <a:pt x="195134" y="45365"/>
                  <a:pt x="192859" y="47845"/>
                  <a:pt x="191600" y="50861"/>
                </a:cubicBezTo>
                <a:cubicBezTo>
                  <a:pt x="190063" y="54588"/>
                  <a:pt x="189164" y="58548"/>
                  <a:pt x="188947" y="62575"/>
                </a:cubicBezTo>
                <a:cubicBezTo>
                  <a:pt x="188564" y="67230"/>
                  <a:pt x="188371" y="72586"/>
                  <a:pt x="188371" y="78644"/>
                </a:cubicBezTo>
                <a:lnTo>
                  <a:pt x="229970" y="78644"/>
                </a:lnTo>
                <a:lnTo>
                  <a:pt x="229970" y="120217"/>
                </a:lnTo>
                <a:lnTo>
                  <a:pt x="188371" y="120217"/>
                </a:lnTo>
                <a:lnTo>
                  <a:pt x="188371" y="243236"/>
                </a:lnTo>
                <a:cubicBezTo>
                  <a:pt x="188371" y="264661"/>
                  <a:pt x="172752" y="280104"/>
                  <a:pt x="172752" y="280104"/>
                </a:cubicBezTo>
                <a:cubicBezTo>
                  <a:pt x="164833" y="275985"/>
                  <a:pt x="156423" y="272889"/>
                  <a:pt x="147723" y="270894"/>
                </a:cubicBezTo>
                <a:cubicBezTo>
                  <a:pt x="137539" y="268671"/>
                  <a:pt x="127137" y="267597"/>
                  <a:pt x="116712" y="267690"/>
                </a:cubicBezTo>
                <a:cubicBezTo>
                  <a:pt x="110690" y="267522"/>
                  <a:pt x="104683" y="268368"/>
                  <a:pt x="98941" y="270193"/>
                </a:cubicBezTo>
                <a:cubicBezTo>
                  <a:pt x="94814" y="271559"/>
                  <a:pt x="91150" y="274047"/>
                  <a:pt x="88354" y="277376"/>
                </a:cubicBezTo>
                <a:cubicBezTo>
                  <a:pt x="85670" y="280840"/>
                  <a:pt x="83946" y="284950"/>
                  <a:pt x="83348" y="289290"/>
                </a:cubicBezTo>
                <a:cubicBezTo>
                  <a:pt x="82554" y="294669"/>
                  <a:pt x="82179" y="300098"/>
                  <a:pt x="82221" y="305534"/>
                </a:cubicBezTo>
                <a:lnTo>
                  <a:pt x="188471" y="305534"/>
                </a:lnTo>
                <a:lnTo>
                  <a:pt x="188471" y="494606"/>
                </a:lnTo>
                <a:lnTo>
                  <a:pt x="139439" y="494606"/>
                </a:lnTo>
                <a:lnTo>
                  <a:pt x="139439" y="347033"/>
                </a:lnTo>
                <a:lnTo>
                  <a:pt x="82347" y="347033"/>
                </a:lnTo>
                <a:lnTo>
                  <a:pt x="82347" y="494506"/>
                </a:lnTo>
                <a:lnTo>
                  <a:pt x="33189" y="494506"/>
                </a:lnTo>
                <a:lnTo>
                  <a:pt x="33189" y="347033"/>
                </a:lnTo>
                <a:lnTo>
                  <a:pt x="0" y="347033"/>
                </a:lnTo>
                <a:lnTo>
                  <a:pt x="0" y="305484"/>
                </a:lnTo>
                <a:lnTo>
                  <a:pt x="33189" y="305484"/>
                </a:lnTo>
                <a:lnTo>
                  <a:pt x="33189" y="294897"/>
                </a:lnTo>
                <a:cubicBezTo>
                  <a:pt x="33189" y="270969"/>
                  <a:pt x="39364" y="253516"/>
                  <a:pt x="51711" y="242535"/>
                </a:cubicBezTo>
                <a:cubicBezTo>
                  <a:pt x="64058" y="231555"/>
                  <a:pt x="81954" y="226074"/>
                  <a:pt x="105399" y="226091"/>
                </a:cubicBezTo>
                <a:cubicBezTo>
                  <a:pt x="116709" y="226051"/>
                  <a:pt x="128010" y="226719"/>
                  <a:pt x="139238" y="228094"/>
                </a:cubicBezTo>
                <a:lnTo>
                  <a:pt x="139238" y="120217"/>
                </a:lnTo>
                <a:lnTo>
                  <a:pt x="113133" y="120217"/>
                </a:lnTo>
                <a:lnTo>
                  <a:pt x="113133" y="78644"/>
                </a:lnTo>
                <a:lnTo>
                  <a:pt x="139238" y="78644"/>
                </a:lnTo>
                <a:lnTo>
                  <a:pt x="139238" y="68056"/>
                </a:lnTo>
                <a:cubicBezTo>
                  <a:pt x="139238" y="44110"/>
                  <a:pt x="144244" y="26775"/>
                  <a:pt x="154256" y="16045"/>
                </a:cubicBezTo>
                <a:cubicBezTo>
                  <a:pt x="164268" y="5315"/>
                  <a:pt x="178885" y="-31"/>
                  <a:pt x="198107" y="1"/>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80000" tIns="144000" rIns="180000" bIns="144000" rtlCol="0" anchor="t">
            <a:noAutofit/>
          </a:bodyPr>
          <a:lstStyle/>
          <a:p>
            <a:pPr algn="l"/>
            <a:endParaRPr lang="de-DE" sz="1600" dirty="0" err="1">
              <a:solidFill>
                <a:schemeClr val="bg1"/>
              </a:solidFill>
            </a:endParaRPr>
          </a:p>
        </p:txBody>
      </p:sp>
    </p:spTree>
    <p:extLst>
      <p:ext uri="{BB962C8B-B14F-4D97-AF65-F5344CB8AC3E}">
        <p14:creationId xmlns:p14="http://schemas.microsoft.com/office/powerpoint/2010/main" val="2006342446"/>
      </p:ext>
    </p:extLst>
  </p:cSld>
  <p:clrMapOvr>
    <a:masterClrMapping/>
  </p:clrMapOvr>
  <p:extLst>
    <p:ext uri="{DCECCB84-F9BA-43D5-87BE-67443E8EF086}">
      <p15:sldGuideLst xmlns:p15="http://schemas.microsoft.com/office/powerpoint/2012/main">
        <p15:guide id="1" pos="3386" userDrawn="1">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Headline + Topline">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494971B2-B5F1-49A8-8123-95C5AB3DE9CD}"/>
              </a:ext>
            </a:extLst>
          </p:cNvPr>
          <p:cNvGraphicFramePr>
            <a:graphicFrameLocks noChangeAspect="1"/>
          </p:cNvGraphicFramePr>
          <p:nvPr userDrawn="1">
            <p:custDataLst>
              <p:tags r:id="rId1"/>
            </p:custDataLst>
            <p:extLst>
              <p:ext uri="{D42A27DB-BD31-4B8C-83A1-F6EECF244321}">
                <p14:modId xmlns:p14="http://schemas.microsoft.com/office/powerpoint/2010/main" val="14190205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5" name="Objekt 4" hidden="1">
                        <a:extLst>
                          <a:ext uri="{FF2B5EF4-FFF2-40B4-BE49-F238E27FC236}">
                            <a16:creationId xmlns:a16="http://schemas.microsoft.com/office/drawing/2014/main" id="{494971B2-B5F1-49A8-8123-95C5AB3DE9C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Titel 5">
            <a:extLst>
              <a:ext uri="{FF2B5EF4-FFF2-40B4-BE49-F238E27FC236}">
                <a16:creationId xmlns:a16="http://schemas.microsoft.com/office/drawing/2014/main" id="{EA96E3C1-04A4-4296-B542-BED3C359A356}"/>
              </a:ext>
            </a:extLst>
          </p:cNvPr>
          <p:cNvSpPr>
            <a:spLocks noGrp="1"/>
          </p:cNvSpPr>
          <p:nvPr>
            <p:ph type="title" hasCustomPrompt="1"/>
          </p:nvPr>
        </p:nvSpPr>
        <p:spPr/>
        <p:txBody>
          <a:bodyPr vert="horz"/>
          <a:lstStyle/>
          <a:p>
            <a:r>
              <a:rPr lang="de-DE"/>
              <a:t>Headline, PT Sans, 32 pt</a:t>
            </a:r>
            <a:endParaRPr lang="de-DE" dirty="0"/>
          </a:p>
        </p:txBody>
      </p:sp>
      <p:sp>
        <p:nvSpPr>
          <p:cNvPr id="8" name="Textplatzhalter 2">
            <a:extLst>
              <a:ext uri="{FF2B5EF4-FFF2-40B4-BE49-F238E27FC236}">
                <a16:creationId xmlns:a16="http://schemas.microsoft.com/office/drawing/2014/main" id="{8D784400-AA91-4681-98B9-E68A8CB83D92}"/>
              </a:ext>
            </a:extLst>
          </p:cNvPr>
          <p:cNvSpPr>
            <a:spLocks noGrp="1"/>
          </p:cNvSpPr>
          <p:nvPr>
            <p:ph type="body" sz="quarter" idx="12" hasCustomPrompt="1"/>
          </p:nvPr>
        </p:nvSpPr>
        <p:spPr>
          <a:xfrm>
            <a:off x="479425" y="156260"/>
            <a:ext cx="11233150" cy="430887"/>
          </a:xfrm>
        </p:spPr>
        <p:txBody>
          <a:bodyPr anchor="b">
            <a:spAutoFit/>
          </a:bodyPr>
          <a:lstStyle>
            <a:lvl1pPr>
              <a:spcAft>
                <a:spcPts val="0"/>
              </a:spcAft>
              <a:defRPr sz="1400" b="0" i="1">
                <a:solidFill>
                  <a:schemeClr val="accent1"/>
                </a:solidFill>
              </a:defRPr>
            </a:lvl1pPr>
            <a:lvl2pPr>
              <a:defRPr sz="1400" b="0" i="1">
                <a:solidFill>
                  <a:schemeClr val="accent1"/>
                </a:solidFill>
              </a:defRPr>
            </a:lvl2pPr>
            <a:lvl3pPr>
              <a:defRPr sz="1400" b="0" i="1">
                <a:solidFill>
                  <a:schemeClr val="accent1"/>
                </a:solidFill>
              </a:defRPr>
            </a:lvl3pPr>
            <a:lvl4pPr>
              <a:defRPr sz="1400" b="0" i="1">
                <a:solidFill>
                  <a:schemeClr val="accent1"/>
                </a:solidFill>
              </a:defRPr>
            </a:lvl4pPr>
            <a:lvl5pPr>
              <a:defRPr sz="1400" b="0" i="1">
                <a:solidFill>
                  <a:schemeClr val="accent1"/>
                </a:solidFill>
              </a:defRPr>
            </a:lvl5pPr>
          </a:lstStyle>
          <a:p>
            <a:pPr lvl="0"/>
            <a:r>
              <a:rPr lang="de-DE" dirty="0" err="1"/>
              <a:t>Topline</a:t>
            </a:r>
            <a:r>
              <a:rPr lang="de-DE" dirty="0"/>
              <a:t> (z.B. Kapitel/kurze Beschreibung), PT Sans kursiv, 14 </a:t>
            </a:r>
            <a:r>
              <a:rPr lang="de-DE" dirty="0" err="1"/>
              <a:t>pt</a:t>
            </a:r>
            <a:br>
              <a:rPr lang="de-DE" dirty="0"/>
            </a:br>
            <a:r>
              <a:rPr lang="de-DE" dirty="0"/>
              <a:t>Optional: Zweizeilig</a:t>
            </a:r>
          </a:p>
        </p:txBody>
      </p:sp>
    </p:spTree>
    <p:extLst>
      <p:ext uri="{BB962C8B-B14F-4D97-AF65-F5344CB8AC3E}">
        <p14:creationId xmlns:p14="http://schemas.microsoft.com/office/powerpoint/2010/main" val="2200188421"/>
      </p:ext>
    </p:extLst>
  </p:cSld>
  <p:clrMapOvr>
    <a:masterClrMapping/>
  </p:clrMapOvr>
  <p:extLst>
    <p:ext uri="{DCECCB84-F9BA-43D5-87BE-67443E8EF086}">
      <p15:sldGuideLst xmlns:p15="http://schemas.microsoft.com/office/powerpoint/2012/main">
        <p15:guide id="2" pos="3931" userDrawn="1">
          <p15:clr>
            <a:srgbClr val="FBAE40"/>
          </p15:clr>
        </p15:guide>
        <p15:guide id="3" pos="3749"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graphicFrame>
        <p:nvGraphicFramePr>
          <p:cNvPr id="37" name="Objekt 36" hidden="1">
            <a:extLst>
              <a:ext uri="{FF2B5EF4-FFF2-40B4-BE49-F238E27FC236}">
                <a16:creationId xmlns:a16="http://schemas.microsoft.com/office/drawing/2014/main" id="{2718C1B8-1E1E-4C0C-BD59-A98CD2453E36}"/>
              </a:ext>
            </a:extLst>
          </p:cNvPr>
          <p:cNvGraphicFramePr>
            <a:graphicFrameLocks noChangeAspect="1"/>
          </p:cNvGraphicFramePr>
          <p:nvPr userDrawn="1">
            <p:custDataLst>
              <p:tags r:id="rId1"/>
            </p:custDataLst>
            <p:extLst>
              <p:ext uri="{D42A27DB-BD31-4B8C-83A1-F6EECF244321}">
                <p14:modId xmlns:p14="http://schemas.microsoft.com/office/powerpoint/2010/main" val="1815656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37" name="Objekt 36" hidden="1">
                        <a:extLst>
                          <a:ext uri="{FF2B5EF4-FFF2-40B4-BE49-F238E27FC236}">
                            <a16:creationId xmlns:a16="http://schemas.microsoft.com/office/drawing/2014/main" id="{2718C1B8-1E1E-4C0C-BD59-A98CD2453E3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FA4F4229-E8C8-4CBE-A19F-F2E39F8B974D}"/>
              </a:ext>
            </a:extLst>
          </p:cNvPr>
          <p:cNvSpPr>
            <a:spLocks noGrp="1"/>
          </p:cNvSpPr>
          <p:nvPr>
            <p:ph type="title" hasCustomPrompt="1"/>
          </p:nvPr>
        </p:nvSpPr>
        <p:spPr bwMode="gray">
          <a:xfrm>
            <a:off x="479425" y="739916"/>
            <a:ext cx="11233150" cy="443198"/>
          </a:xfrm>
        </p:spPr>
        <p:txBody>
          <a:bodyPr vert="horz"/>
          <a:lstStyle>
            <a:lvl1pPr rtl="0">
              <a:defRPr/>
            </a:lvl1pPr>
          </a:lstStyle>
          <a:p>
            <a:r>
              <a:rPr lang="de-DE" noProof="0" dirty="0"/>
              <a:t>Headline, PT Sans, 32 </a:t>
            </a:r>
            <a:r>
              <a:rPr lang="de-DE" noProof="0" dirty="0" err="1"/>
              <a:t>pt</a:t>
            </a:r>
            <a:endParaRPr lang="de-DE" noProof="0" dirty="0"/>
          </a:p>
        </p:txBody>
      </p:sp>
      <p:sp>
        <p:nvSpPr>
          <p:cNvPr id="5" name="Textplatzhalter 4">
            <a:extLst>
              <a:ext uri="{FF2B5EF4-FFF2-40B4-BE49-F238E27FC236}">
                <a16:creationId xmlns:a16="http://schemas.microsoft.com/office/drawing/2014/main" id="{569C5103-F38E-4413-AAC1-87B904723346}"/>
              </a:ext>
            </a:extLst>
          </p:cNvPr>
          <p:cNvSpPr>
            <a:spLocks noGrp="1"/>
          </p:cNvSpPr>
          <p:nvPr>
            <p:ph type="body" sz="quarter" idx="11" hasCustomPrompt="1"/>
          </p:nvPr>
        </p:nvSpPr>
        <p:spPr>
          <a:xfrm>
            <a:off x="479425" y="1628773"/>
            <a:ext cx="576000" cy="982800"/>
          </a:xfrm>
        </p:spPr>
        <p:txBody>
          <a:bodyPr anchor="ctr"/>
          <a:lstStyle>
            <a:lvl1pPr rtl="0">
              <a:spcAft>
                <a:spcPts val="0"/>
              </a:spcAft>
              <a:defRPr sz="4000" b="0">
                <a:solidFill>
                  <a:schemeClr val="tx1"/>
                </a:solidFill>
              </a:defRPr>
            </a:lvl1pPr>
          </a:lstStyle>
          <a:p>
            <a:pPr lvl="0"/>
            <a:r>
              <a:rPr lang="de-DE" dirty="0"/>
              <a:t>01</a:t>
            </a:r>
          </a:p>
        </p:txBody>
      </p:sp>
      <p:sp>
        <p:nvSpPr>
          <p:cNvPr id="7" name="Textplatzhalter 6">
            <a:extLst>
              <a:ext uri="{FF2B5EF4-FFF2-40B4-BE49-F238E27FC236}">
                <a16:creationId xmlns:a16="http://schemas.microsoft.com/office/drawing/2014/main" id="{059DEF56-14CF-449A-94AD-85B75CA3CE0D}"/>
              </a:ext>
            </a:extLst>
          </p:cNvPr>
          <p:cNvSpPr>
            <a:spLocks noGrp="1"/>
          </p:cNvSpPr>
          <p:nvPr>
            <p:ph type="body" sz="quarter" idx="12" hasCustomPrompt="1"/>
          </p:nvPr>
        </p:nvSpPr>
        <p:spPr>
          <a:xfrm>
            <a:off x="1318867" y="1628773"/>
            <a:ext cx="1370824" cy="982800"/>
          </a:xfrm>
        </p:spPr>
        <p:txBody>
          <a:bodyPr anchor="ctr"/>
          <a:lstStyle>
            <a:lvl1pPr rtl="0">
              <a:spcAft>
                <a:spcPts val="0"/>
              </a:spcAft>
              <a:defRPr sz="1400">
                <a:solidFill>
                  <a:schemeClr val="tx1"/>
                </a:solidFill>
              </a:defRPr>
            </a:lvl1pPr>
          </a:lstStyle>
          <a:p>
            <a:pPr lvl="0"/>
            <a:r>
              <a:rPr lang="de-DE" dirty="0"/>
              <a:t>Kapitel 1</a:t>
            </a:r>
          </a:p>
        </p:txBody>
      </p:sp>
      <p:sp>
        <p:nvSpPr>
          <p:cNvPr id="9" name="Textplatzhalter 8">
            <a:extLst>
              <a:ext uri="{FF2B5EF4-FFF2-40B4-BE49-F238E27FC236}">
                <a16:creationId xmlns:a16="http://schemas.microsoft.com/office/drawing/2014/main" id="{F52A141B-2233-4A9B-99C4-AD50E3FD1EB5}"/>
              </a:ext>
            </a:extLst>
          </p:cNvPr>
          <p:cNvSpPr>
            <a:spLocks noGrp="1"/>
          </p:cNvSpPr>
          <p:nvPr>
            <p:ph type="body" sz="quarter" idx="13" hasCustomPrompt="1"/>
          </p:nvPr>
        </p:nvSpPr>
        <p:spPr bwMode="gray">
          <a:xfrm>
            <a:off x="2953133" y="1628773"/>
            <a:ext cx="0" cy="982800"/>
          </a:xfrm>
          <a:custGeom>
            <a:avLst/>
            <a:gdLst>
              <a:gd name="connsiteX0" fmla="*/ 0 w 914400"/>
              <a:gd name="connsiteY0" fmla="*/ 0 h 982800"/>
              <a:gd name="connsiteX1" fmla="*/ 914400 w 914400"/>
              <a:gd name="connsiteY1" fmla="*/ 0 h 982800"/>
              <a:gd name="connsiteX2" fmla="*/ 914400 w 914400"/>
              <a:gd name="connsiteY2" fmla="*/ 982800 h 982800"/>
              <a:gd name="connsiteX3" fmla="*/ 0 w 914400"/>
              <a:gd name="connsiteY3" fmla="*/ 982800 h 982800"/>
              <a:gd name="connsiteX4" fmla="*/ 0 w 914400"/>
              <a:gd name="connsiteY4" fmla="*/ 0 h 982800"/>
              <a:gd name="connsiteX0" fmla="*/ 914400 w 1005840"/>
              <a:gd name="connsiteY0" fmla="*/ 0 h 982800"/>
              <a:gd name="connsiteX1" fmla="*/ 914400 w 1005840"/>
              <a:gd name="connsiteY1" fmla="*/ 982800 h 982800"/>
              <a:gd name="connsiteX2" fmla="*/ 0 w 1005840"/>
              <a:gd name="connsiteY2" fmla="*/ 982800 h 982800"/>
              <a:gd name="connsiteX3" fmla="*/ 0 w 1005840"/>
              <a:gd name="connsiteY3" fmla="*/ 0 h 982800"/>
              <a:gd name="connsiteX4" fmla="*/ 1005840 w 1005840"/>
              <a:gd name="connsiteY4" fmla="*/ 91440 h 982800"/>
              <a:gd name="connsiteX0" fmla="*/ 914400 w 1005840"/>
              <a:gd name="connsiteY0" fmla="*/ 0 h 982800"/>
              <a:gd name="connsiteX1" fmla="*/ 0 w 1005840"/>
              <a:gd name="connsiteY1" fmla="*/ 982800 h 982800"/>
              <a:gd name="connsiteX2" fmla="*/ 0 w 1005840"/>
              <a:gd name="connsiteY2" fmla="*/ 0 h 982800"/>
              <a:gd name="connsiteX3" fmla="*/ 1005840 w 1005840"/>
              <a:gd name="connsiteY3" fmla="*/ 91440 h 982800"/>
              <a:gd name="connsiteX0" fmla="*/ 914400 w 914400"/>
              <a:gd name="connsiteY0" fmla="*/ 0 h 982800"/>
              <a:gd name="connsiteX1" fmla="*/ 0 w 914400"/>
              <a:gd name="connsiteY1" fmla="*/ 982800 h 982800"/>
              <a:gd name="connsiteX2" fmla="*/ 0 w 914400"/>
              <a:gd name="connsiteY2" fmla="*/ 0 h 982800"/>
              <a:gd name="connsiteX0" fmla="*/ 0 w 0"/>
              <a:gd name="connsiteY0" fmla="*/ 982800 h 982800"/>
              <a:gd name="connsiteX1" fmla="*/ 0 w 0"/>
              <a:gd name="connsiteY1" fmla="*/ 0 h 982800"/>
            </a:gdLst>
            <a:ahLst/>
            <a:cxnLst>
              <a:cxn ang="0">
                <a:pos x="connsiteX0" y="connsiteY0"/>
              </a:cxn>
              <a:cxn ang="0">
                <a:pos x="connsiteX1" y="connsiteY1"/>
              </a:cxn>
            </a:cxnLst>
            <a:rect l="l" t="t" r="r" b="b"/>
            <a:pathLst>
              <a:path h="982800">
                <a:moveTo>
                  <a:pt x="0" y="982800"/>
                </a:moveTo>
                <a:lnTo>
                  <a:pt x="0" y="0"/>
                </a:lnTo>
              </a:path>
            </a:pathLst>
          </a:custGeom>
          <a:ln w="6350">
            <a:solidFill>
              <a:schemeClr val="tx1"/>
            </a:solidFill>
          </a:ln>
        </p:spPr>
        <p:txBody>
          <a:bodyPr/>
          <a:lstStyle>
            <a:lvl1pPr rtl="0">
              <a:spcAft>
                <a:spcPts val="0"/>
              </a:spcAft>
              <a:defRPr/>
            </a:lvl1pPr>
          </a:lstStyle>
          <a:p>
            <a:pPr lvl="0"/>
            <a:r>
              <a:rPr lang="de-DE" dirty="0"/>
              <a:t> </a:t>
            </a:r>
          </a:p>
        </p:txBody>
      </p:sp>
      <p:sp>
        <p:nvSpPr>
          <p:cNvPr id="11" name="Textplatzhalter 10">
            <a:extLst>
              <a:ext uri="{FF2B5EF4-FFF2-40B4-BE49-F238E27FC236}">
                <a16:creationId xmlns:a16="http://schemas.microsoft.com/office/drawing/2014/main" id="{418780CD-F0BF-4D27-A6C0-87778FF43934}"/>
              </a:ext>
            </a:extLst>
          </p:cNvPr>
          <p:cNvSpPr>
            <a:spLocks noGrp="1"/>
          </p:cNvSpPr>
          <p:nvPr>
            <p:ph type="body" sz="quarter" idx="14" hasCustomPrompt="1"/>
          </p:nvPr>
        </p:nvSpPr>
        <p:spPr>
          <a:xfrm>
            <a:off x="3216575" y="1628773"/>
            <a:ext cx="8496000" cy="982800"/>
          </a:xfrm>
        </p:spPr>
        <p:txBody>
          <a:bodyPr anchor="ctr"/>
          <a:lstStyle>
            <a:lvl1pPr rtl="0">
              <a:spcAft>
                <a:spcPts val="0"/>
              </a:spcAft>
              <a:defRPr sz="1400" b="0"/>
            </a:lvl1pPr>
          </a:lstStyle>
          <a:p>
            <a:pPr lvl="0"/>
            <a:r>
              <a:rPr lang="de-DE" dirty="0"/>
              <a:t>Kurze Beschreibung</a:t>
            </a:r>
          </a:p>
        </p:txBody>
      </p:sp>
      <p:sp>
        <p:nvSpPr>
          <p:cNvPr id="13" name="Textplatzhalter 12">
            <a:extLst>
              <a:ext uri="{FF2B5EF4-FFF2-40B4-BE49-F238E27FC236}">
                <a16:creationId xmlns:a16="http://schemas.microsoft.com/office/drawing/2014/main" id="{710B8462-7132-48D5-8BB8-C89F20A1158A}"/>
              </a:ext>
            </a:extLst>
          </p:cNvPr>
          <p:cNvSpPr>
            <a:spLocks noGrp="1"/>
          </p:cNvSpPr>
          <p:nvPr>
            <p:ph type="body" sz="quarter" idx="15" hasCustomPrompt="1"/>
          </p:nvPr>
        </p:nvSpPr>
        <p:spPr>
          <a:xfrm>
            <a:off x="479425" y="2789787"/>
            <a:ext cx="576000" cy="982800"/>
          </a:xfrm>
        </p:spPr>
        <p:txBody>
          <a:bodyPr anchor="ctr"/>
          <a:lstStyle>
            <a:lvl1pPr rtl="0">
              <a:spcAft>
                <a:spcPts val="0"/>
              </a:spcAft>
              <a:defRPr sz="4000" b="0">
                <a:solidFill>
                  <a:schemeClr val="tx1"/>
                </a:solidFill>
              </a:defRPr>
            </a:lvl1pPr>
          </a:lstStyle>
          <a:p>
            <a:pPr lvl="0"/>
            <a:r>
              <a:rPr lang="de-DE" dirty="0"/>
              <a:t>02</a:t>
            </a:r>
          </a:p>
        </p:txBody>
      </p:sp>
      <p:sp>
        <p:nvSpPr>
          <p:cNvPr id="15" name="Textplatzhalter 14">
            <a:extLst>
              <a:ext uri="{FF2B5EF4-FFF2-40B4-BE49-F238E27FC236}">
                <a16:creationId xmlns:a16="http://schemas.microsoft.com/office/drawing/2014/main" id="{65B1449D-B7ED-411F-9785-D2F1660F4759}"/>
              </a:ext>
            </a:extLst>
          </p:cNvPr>
          <p:cNvSpPr>
            <a:spLocks noGrp="1"/>
          </p:cNvSpPr>
          <p:nvPr>
            <p:ph type="body" sz="quarter" idx="16" hasCustomPrompt="1"/>
          </p:nvPr>
        </p:nvSpPr>
        <p:spPr>
          <a:xfrm>
            <a:off x="1318867" y="2789787"/>
            <a:ext cx="1370824" cy="982800"/>
          </a:xfrm>
        </p:spPr>
        <p:txBody>
          <a:bodyPr anchor="ctr"/>
          <a:lstStyle>
            <a:lvl1pPr rtl="0">
              <a:spcAft>
                <a:spcPts val="0"/>
              </a:spcAft>
              <a:defRPr sz="1400">
                <a:solidFill>
                  <a:schemeClr val="tx1"/>
                </a:solidFill>
              </a:defRPr>
            </a:lvl1pPr>
          </a:lstStyle>
          <a:p>
            <a:pPr lvl="0"/>
            <a:r>
              <a:rPr lang="de-DE" dirty="0"/>
              <a:t>Kapitel 2</a:t>
            </a:r>
          </a:p>
        </p:txBody>
      </p:sp>
      <p:sp>
        <p:nvSpPr>
          <p:cNvPr id="17" name="Textplatzhalter 16">
            <a:extLst>
              <a:ext uri="{FF2B5EF4-FFF2-40B4-BE49-F238E27FC236}">
                <a16:creationId xmlns:a16="http://schemas.microsoft.com/office/drawing/2014/main" id="{CD4C3BC5-184E-4930-8808-679E2194B209}"/>
              </a:ext>
            </a:extLst>
          </p:cNvPr>
          <p:cNvSpPr>
            <a:spLocks noGrp="1"/>
          </p:cNvSpPr>
          <p:nvPr>
            <p:ph type="body" sz="quarter" idx="17" hasCustomPrompt="1"/>
          </p:nvPr>
        </p:nvSpPr>
        <p:spPr bwMode="gray">
          <a:xfrm>
            <a:off x="2953133" y="2789787"/>
            <a:ext cx="0" cy="982800"/>
          </a:xfrm>
          <a:custGeom>
            <a:avLst/>
            <a:gdLst>
              <a:gd name="connsiteX0" fmla="*/ 0 w 914400"/>
              <a:gd name="connsiteY0" fmla="*/ 0 h 982800"/>
              <a:gd name="connsiteX1" fmla="*/ 914400 w 914400"/>
              <a:gd name="connsiteY1" fmla="*/ 0 h 982800"/>
              <a:gd name="connsiteX2" fmla="*/ 914400 w 914400"/>
              <a:gd name="connsiteY2" fmla="*/ 982800 h 982800"/>
              <a:gd name="connsiteX3" fmla="*/ 0 w 914400"/>
              <a:gd name="connsiteY3" fmla="*/ 982800 h 982800"/>
              <a:gd name="connsiteX4" fmla="*/ 0 w 914400"/>
              <a:gd name="connsiteY4" fmla="*/ 0 h 982800"/>
              <a:gd name="connsiteX0" fmla="*/ 914400 w 1005840"/>
              <a:gd name="connsiteY0" fmla="*/ 982800 h 1074240"/>
              <a:gd name="connsiteX1" fmla="*/ 0 w 1005840"/>
              <a:gd name="connsiteY1" fmla="*/ 982800 h 1074240"/>
              <a:gd name="connsiteX2" fmla="*/ 0 w 1005840"/>
              <a:gd name="connsiteY2" fmla="*/ 0 h 1074240"/>
              <a:gd name="connsiteX3" fmla="*/ 914400 w 1005840"/>
              <a:gd name="connsiteY3" fmla="*/ 0 h 1074240"/>
              <a:gd name="connsiteX4" fmla="*/ 1005840 w 1005840"/>
              <a:gd name="connsiteY4" fmla="*/ 1074240 h 1074240"/>
              <a:gd name="connsiteX0" fmla="*/ 914400 w 914400"/>
              <a:gd name="connsiteY0" fmla="*/ 982800 h 982800"/>
              <a:gd name="connsiteX1" fmla="*/ 0 w 914400"/>
              <a:gd name="connsiteY1" fmla="*/ 982800 h 982800"/>
              <a:gd name="connsiteX2" fmla="*/ 0 w 914400"/>
              <a:gd name="connsiteY2" fmla="*/ 0 h 982800"/>
              <a:gd name="connsiteX3" fmla="*/ 914400 w 914400"/>
              <a:gd name="connsiteY3" fmla="*/ 0 h 982800"/>
              <a:gd name="connsiteX0" fmla="*/ 0 w 914400"/>
              <a:gd name="connsiteY0" fmla="*/ 982800 h 982800"/>
              <a:gd name="connsiteX1" fmla="*/ 0 w 914400"/>
              <a:gd name="connsiteY1" fmla="*/ 0 h 982800"/>
              <a:gd name="connsiteX2" fmla="*/ 914400 w 914400"/>
              <a:gd name="connsiteY2" fmla="*/ 0 h 982800"/>
              <a:gd name="connsiteX0" fmla="*/ 0 w 0"/>
              <a:gd name="connsiteY0" fmla="*/ 982800 h 982800"/>
              <a:gd name="connsiteX1" fmla="*/ 0 w 0"/>
              <a:gd name="connsiteY1" fmla="*/ 0 h 982800"/>
            </a:gdLst>
            <a:ahLst/>
            <a:cxnLst>
              <a:cxn ang="0">
                <a:pos x="connsiteX0" y="connsiteY0"/>
              </a:cxn>
              <a:cxn ang="0">
                <a:pos x="connsiteX1" y="connsiteY1"/>
              </a:cxn>
            </a:cxnLst>
            <a:rect l="l" t="t" r="r" b="b"/>
            <a:pathLst>
              <a:path h="982800">
                <a:moveTo>
                  <a:pt x="0" y="982800"/>
                </a:moveTo>
                <a:lnTo>
                  <a:pt x="0" y="0"/>
                </a:lnTo>
              </a:path>
            </a:pathLst>
          </a:custGeom>
          <a:ln w="6350">
            <a:solidFill>
              <a:schemeClr val="tx1"/>
            </a:solidFill>
          </a:ln>
        </p:spPr>
        <p:txBody>
          <a:bodyPr/>
          <a:lstStyle>
            <a:lvl1pPr rtl="0">
              <a:spcAft>
                <a:spcPts val="0"/>
              </a:spcAft>
              <a:defRPr/>
            </a:lvl1pPr>
          </a:lstStyle>
          <a:p>
            <a:pPr lvl="0"/>
            <a:r>
              <a:rPr lang="de-DE" dirty="0"/>
              <a:t> </a:t>
            </a:r>
          </a:p>
        </p:txBody>
      </p:sp>
      <p:sp>
        <p:nvSpPr>
          <p:cNvPr id="19" name="Textplatzhalter 18">
            <a:extLst>
              <a:ext uri="{FF2B5EF4-FFF2-40B4-BE49-F238E27FC236}">
                <a16:creationId xmlns:a16="http://schemas.microsoft.com/office/drawing/2014/main" id="{EF22F542-75A0-4EDD-87E0-CF155EE08256}"/>
              </a:ext>
            </a:extLst>
          </p:cNvPr>
          <p:cNvSpPr>
            <a:spLocks noGrp="1"/>
          </p:cNvSpPr>
          <p:nvPr>
            <p:ph type="body" sz="quarter" idx="18" hasCustomPrompt="1"/>
          </p:nvPr>
        </p:nvSpPr>
        <p:spPr>
          <a:xfrm>
            <a:off x="3216575" y="2789787"/>
            <a:ext cx="8496000" cy="982800"/>
          </a:xfrm>
        </p:spPr>
        <p:txBody>
          <a:bodyPr anchor="ctr"/>
          <a:lstStyle>
            <a:lvl1pPr rtl="0">
              <a:spcAft>
                <a:spcPts val="0"/>
              </a:spcAft>
              <a:defRPr sz="1400" b="0"/>
            </a:lvl1pPr>
          </a:lstStyle>
          <a:p>
            <a:pPr lvl="0"/>
            <a:r>
              <a:rPr lang="de-DE" dirty="0"/>
              <a:t>Kurze Beschreibung</a:t>
            </a:r>
          </a:p>
        </p:txBody>
      </p:sp>
      <p:sp>
        <p:nvSpPr>
          <p:cNvPr id="21" name="Textplatzhalter 20">
            <a:extLst>
              <a:ext uri="{FF2B5EF4-FFF2-40B4-BE49-F238E27FC236}">
                <a16:creationId xmlns:a16="http://schemas.microsoft.com/office/drawing/2014/main" id="{6DC4479D-A6C8-45C5-8064-4EFEFBA92244}"/>
              </a:ext>
            </a:extLst>
          </p:cNvPr>
          <p:cNvSpPr>
            <a:spLocks noGrp="1"/>
          </p:cNvSpPr>
          <p:nvPr>
            <p:ph type="body" sz="quarter" idx="19" hasCustomPrompt="1"/>
          </p:nvPr>
        </p:nvSpPr>
        <p:spPr>
          <a:xfrm>
            <a:off x="479425" y="3950800"/>
            <a:ext cx="576000" cy="982800"/>
          </a:xfrm>
        </p:spPr>
        <p:txBody>
          <a:bodyPr anchor="ctr"/>
          <a:lstStyle>
            <a:lvl1pPr rtl="0">
              <a:spcAft>
                <a:spcPts val="0"/>
              </a:spcAft>
              <a:defRPr sz="4000" b="0">
                <a:solidFill>
                  <a:schemeClr val="tx1"/>
                </a:solidFill>
              </a:defRPr>
            </a:lvl1pPr>
          </a:lstStyle>
          <a:p>
            <a:pPr lvl="0"/>
            <a:r>
              <a:rPr lang="de-DE" dirty="0"/>
              <a:t>03</a:t>
            </a:r>
          </a:p>
        </p:txBody>
      </p:sp>
      <p:sp>
        <p:nvSpPr>
          <p:cNvPr id="23" name="Textplatzhalter 22">
            <a:extLst>
              <a:ext uri="{FF2B5EF4-FFF2-40B4-BE49-F238E27FC236}">
                <a16:creationId xmlns:a16="http://schemas.microsoft.com/office/drawing/2014/main" id="{F5C89F06-295E-46AE-9896-B2481771B516}"/>
              </a:ext>
            </a:extLst>
          </p:cNvPr>
          <p:cNvSpPr>
            <a:spLocks noGrp="1"/>
          </p:cNvSpPr>
          <p:nvPr>
            <p:ph type="body" sz="quarter" idx="20" hasCustomPrompt="1"/>
          </p:nvPr>
        </p:nvSpPr>
        <p:spPr>
          <a:xfrm>
            <a:off x="1318867" y="3950800"/>
            <a:ext cx="1370824" cy="982800"/>
          </a:xfrm>
        </p:spPr>
        <p:txBody>
          <a:bodyPr anchor="ctr"/>
          <a:lstStyle>
            <a:lvl1pPr rtl="0">
              <a:spcAft>
                <a:spcPts val="0"/>
              </a:spcAft>
              <a:defRPr sz="1400">
                <a:solidFill>
                  <a:schemeClr val="tx1"/>
                </a:solidFill>
              </a:defRPr>
            </a:lvl1pPr>
          </a:lstStyle>
          <a:p>
            <a:pPr lvl="0"/>
            <a:r>
              <a:rPr lang="de-DE" dirty="0"/>
              <a:t>Kapitel 3</a:t>
            </a:r>
          </a:p>
        </p:txBody>
      </p:sp>
      <p:sp>
        <p:nvSpPr>
          <p:cNvPr id="25" name="Textplatzhalter 24">
            <a:extLst>
              <a:ext uri="{FF2B5EF4-FFF2-40B4-BE49-F238E27FC236}">
                <a16:creationId xmlns:a16="http://schemas.microsoft.com/office/drawing/2014/main" id="{D7EC6528-B191-4481-94DB-AF14CE7797C8}"/>
              </a:ext>
            </a:extLst>
          </p:cNvPr>
          <p:cNvSpPr>
            <a:spLocks noGrp="1"/>
          </p:cNvSpPr>
          <p:nvPr>
            <p:ph type="body" sz="quarter" idx="21" hasCustomPrompt="1"/>
          </p:nvPr>
        </p:nvSpPr>
        <p:spPr bwMode="gray">
          <a:xfrm>
            <a:off x="2953133" y="3950800"/>
            <a:ext cx="0" cy="982800"/>
          </a:xfrm>
          <a:custGeom>
            <a:avLst/>
            <a:gdLst>
              <a:gd name="connsiteX0" fmla="*/ 0 w 914400"/>
              <a:gd name="connsiteY0" fmla="*/ 0 h 982800"/>
              <a:gd name="connsiteX1" fmla="*/ 914400 w 914400"/>
              <a:gd name="connsiteY1" fmla="*/ 0 h 982800"/>
              <a:gd name="connsiteX2" fmla="*/ 914400 w 914400"/>
              <a:gd name="connsiteY2" fmla="*/ 982800 h 982800"/>
              <a:gd name="connsiteX3" fmla="*/ 0 w 914400"/>
              <a:gd name="connsiteY3" fmla="*/ 982800 h 982800"/>
              <a:gd name="connsiteX4" fmla="*/ 0 w 914400"/>
              <a:gd name="connsiteY4" fmla="*/ 0 h 982800"/>
              <a:gd name="connsiteX0" fmla="*/ 914400 w 1005840"/>
              <a:gd name="connsiteY0" fmla="*/ 0 h 982800"/>
              <a:gd name="connsiteX1" fmla="*/ 914400 w 1005840"/>
              <a:gd name="connsiteY1" fmla="*/ 982800 h 982800"/>
              <a:gd name="connsiteX2" fmla="*/ 0 w 1005840"/>
              <a:gd name="connsiteY2" fmla="*/ 982800 h 982800"/>
              <a:gd name="connsiteX3" fmla="*/ 0 w 1005840"/>
              <a:gd name="connsiteY3" fmla="*/ 0 h 982800"/>
              <a:gd name="connsiteX4" fmla="*/ 1005840 w 1005840"/>
              <a:gd name="connsiteY4" fmla="*/ 91440 h 982800"/>
              <a:gd name="connsiteX0" fmla="*/ 914400 w 1005840"/>
              <a:gd name="connsiteY0" fmla="*/ 0 h 982800"/>
              <a:gd name="connsiteX1" fmla="*/ 0 w 1005840"/>
              <a:gd name="connsiteY1" fmla="*/ 982800 h 982800"/>
              <a:gd name="connsiteX2" fmla="*/ 0 w 1005840"/>
              <a:gd name="connsiteY2" fmla="*/ 0 h 982800"/>
              <a:gd name="connsiteX3" fmla="*/ 1005840 w 1005840"/>
              <a:gd name="connsiteY3" fmla="*/ 91440 h 982800"/>
              <a:gd name="connsiteX0" fmla="*/ 914400 w 914400"/>
              <a:gd name="connsiteY0" fmla="*/ 0 h 982800"/>
              <a:gd name="connsiteX1" fmla="*/ 0 w 914400"/>
              <a:gd name="connsiteY1" fmla="*/ 982800 h 982800"/>
              <a:gd name="connsiteX2" fmla="*/ 0 w 914400"/>
              <a:gd name="connsiteY2" fmla="*/ 0 h 982800"/>
              <a:gd name="connsiteX0" fmla="*/ 0 w 0"/>
              <a:gd name="connsiteY0" fmla="*/ 982800 h 982800"/>
              <a:gd name="connsiteX1" fmla="*/ 0 w 0"/>
              <a:gd name="connsiteY1" fmla="*/ 0 h 982800"/>
            </a:gdLst>
            <a:ahLst/>
            <a:cxnLst>
              <a:cxn ang="0">
                <a:pos x="connsiteX0" y="connsiteY0"/>
              </a:cxn>
              <a:cxn ang="0">
                <a:pos x="connsiteX1" y="connsiteY1"/>
              </a:cxn>
            </a:cxnLst>
            <a:rect l="l" t="t" r="r" b="b"/>
            <a:pathLst>
              <a:path h="982800">
                <a:moveTo>
                  <a:pt x="0" y="982800"/>
                </a:moveTo>
                <a:lnTo>
                  <a:pt x="0" y="0"/>
                </a:lnTo>
              </a:path>
            </a:pathLst>
          </a:custGeom>
          <a:ln w="6350">
            <a:solidFill>
              <a:schemeClr val="tx1"/>
            </a:solidFill>
          </a:ln>
        </p:spPr>
        <p:txBody>
          <a:bodyPr/>
          <a:lstStyle>
            <a:lvl1pPr rtl="0">
              <a:spcAft>
                <a:spcPts val="0"/>
              </a:spcAft>
              <a:defRPr/>
            </a:lvl1pPr>
          </a:lstStyle>
          <a:p>
            <a:pPr lvl="0"/>
            <a:r>
              <a:rPr lang="de-DE" dirty="0"/>
              <a:t> </a:t>
            </a:r>
          </a:p>
        </p:txBody>
      </p:sp>
      <p:sp>
        <p:nvSpPr>
          <p:cNvPr id="27" name="Textplatzhalter 26">
            <a:extLst>
              <a:ext uri="{FF2B5EF4-FFF2-40B4-BE49-F238E27FC236}">
                <a16:creationId xmlns:a16="http://schemas.microsoft.com/office/drawing/2014/main" id="{436A7174-431F-4FC7-81B2-908D53A79FA8}"/>
              </a:ext>
            </a:extLst>
          </p:cNvPr>
          <p:cNvSpPr>
            <a:spLocks noGrp="1"/>
          </p:cNvSpPr>
          <p:nvPr>
            <p:ph type="body" sz="quarter" idx="22" hasCustomPrompt="1"/>
          </p:nvPr>
        </p:nvSpPr>
        <p:spPr>
          <a:xfrm>
            <a:off x="3216575" y="3950800"/>
            <a:ext cx="8496000" cy="982800"/>
          </a:xfrm>
        </p:spPr>
        <p:txBody>
          <a:bodyPr anchor="ctr"/>
          <a:lstStyle>
            <a:lvl1pPr rtl="0">
              <a:spcAft>
                <a:spcPts val="0"/>
              </a:spcAft>
              <a:defRPr sz="1400" b="0"/>
            </a:lvl1pPr>
          </a:lstStyle>
          <a:p>
            <a:pPr lvl="0"/>
            <a:r>
              <a:rPr lang="de-DE" dirty="0"/>
              <a:t>Kurze Beschreibung</a:t>
            </a:r>
          </a:p>
        </p:txBody>
      </p:sp>
      <p:sp>
        <p:nvSpPr>
          <p:cNvPr id="29" name="Textplatzhalter 28">
            <a:extLst>
              <a:ext uri="{FF2B5EF4-FFF2-40B4-BE49-F238E27FC236}">
                <a16:creationId xmlns:a16="http://schemas.microsoft.com/office/drawing/2014/main" id="{ACEB4442-93E3-4113-82F0-379B3D573B41}"/>
              </a:ext>
            </a:extLst>
          </p:cNvPr>
          <p:cNvSpPr>
            <a:spLocks noGrp="1"/>
          </p:cNvSpPr>
          <p:nvPr>
            <p:ph type="body" sz="quarter" idx="23" hasCustomPrompt="1"/>
          </p:nvPr>
        </p:nvSpPr>
        <p:spPr>
          <a:xfrm>
            <a:off x="479425" y="5111812"/>
            <a:ext cx="576000" cy="982800"/>
          </a:xfrm>
        </p:spPr>
        <p:txBody>
          <a:bodyPr anchor="ctr"/>
          <a:lstStyle>
            <a:lvl1pPr rtl="0">
              <a:spcAft>
                <a:spcPts val="0"/>
              </a:spcAft>
              <a:defRPr sz="4000" b="0">
                <a:solidFill>
                  <a:schemeClr val="tx1"/>
                </a:solidFill>
              </a:defRPr>
            </a:lvl1pPr>
          </a:lstStyle>
          <a:p>
            <a:pPr lvl="0"/>
            <a:r>
              <a:rPr lang="de-DE" dirty="0"/>
              <a:t>04</a:t>
            </a:r>
          </a:p>
        </p:txBody>
      </p:sp>
      <p:sp>
        <p:nvSpPr>
          <p:cNvPr id="31" name="Textplatzhalter 30">
            <a:extLst>
              <a:ext uri="{FF2B5EF4-FFF2-40B4-BE49-F238E27FC236}">
                <a16:creationId xmlns:a16="http://schemas.microsoft.com/office/drawing/2014/main" id="{0FD0B222-6C2F-41CA-A1EF-4F2D0C1CEFA6}"/>
              </a:ext>
            </a:extLst>
          </p:cNvPr>
          <p:cNvSpPr>
            <a:spLocks noGrp="1"/>
          </p:cNvSpPr>
          <p:nvPr>
            <p:ph type="body" sz="quarter" idx="24" hasCustomPrompt="1"/>
          </p:nvPr>
        </p:nvSpPr>
        <p:spPr>
          <a:xfrm>
            <a:off x="1318867" y="5111812"/>
            <a:ext cx="1370824" cy="982800"/>
          </a:xfrm>
        </p:spPr>
        <p:txBody>
          <a:bodyPr anchor="ctr"/>
          <a:lstStyle>
            <a:lvl1pPr rtl="0">
              <a:spcAft>
                <a:spcPts val="0"/>
              </a:spcAft>
              <a:defRPr sz="1400">
                <a:solidFill>
                  <a:schemeClr val="tx1"/>
                </a:solidFill>
              </a:defRPr>
            </a:lvl1pPr>
          </a:lstStyle>
          <a:p>
            <a:pPr lvl="0"/>
            <a:r>
              <a:rPr lang="de-DE" dirty="0"/>
              <a:t>Kapitel 4</a:t>
            </a:r>
          </a:p>
        </p:txBody>
      </p:sp>
      <p:sp>
        <p:nvSpPr>
          <p:cNvPr id="33" name="Textplatzhalter 32">
            <a:extLst>
              <a:ext uri="{FF2B5EF4-FFF2-40B4-BE49-F238E27FC236}">
                <a16:creationId xmlns:a16="http://schemas.microsoft.com/office/drawing/2014/main" id="{8DD0AAD8-FE46-4BA8-9150-37243A056714}"/>
              </a:ext>
            </a:extLst>
          </p:cNvPr>
          <p:cNvSpPr>
            <a:spLocks noGrp="1"/>
          </p:cNvSpPr>
          <p:nvPr>
            <p:ph type="body" sz="quarter" idx="25" hasCustomPrompt="1"/>
          </p:nvPr>
        </p:nvSpPr>
        <p:spPr bwMode="gray">
          <a:xfrm>
            <a:off x="2953133" y="5111812"/>
            <a:ext cx="0" cy="982800"/>
          </a:xfrm>
          <a:custGeom>
            <a:avLst/>
            <a:gdLst>
              <a:gd name="connsiteX0" fmla="*/ 0 w 914400"/>
              <a:gd name="connsiteY0" fmla="*/ 0 h 982800"/>
              <a:gd name="connsiteX1" fmla="*/ 914400 w 914400"/>
              <a:gd name="connsiteY1" fmla="*/ 0 h 982800"/>
              <a:gd name="connsiteX2" fmla="*/ 914400 w 914400"/>
              <a:gd name="connsiteY2" fmla="*/ 982800 h 982800"/>
              <a:gd name="connsiteX3" fmla="*/ 0 w 914400"/>
              <a:gd name="connsiteY3" fmla="*/ 982800 h 982800"/>
              <a:gd name="connsiteX4" fmla="*/ 0 w 914400"/>
              <a:gd name="connsiteY4" fmla="*/ 0 h 982800"/>
              <a:gd name="connsiteX0" fmla="*/ 914400 w 1005840"/>
              <a:gd name="connsiteY0" fmla="*/ 0 h 982800"/>
              <a:gd name="connsiteX1" fmla="*/ 914400 w 1005840"/>
              <a:gd name="connsiteY1" fmla="*/ 982800 h 982800"/>
              <a:gd name="connsiteX2" fmla="*/ 0 w 1005840"/>
              <a:gd name="connsiteY2" fmla="*/ 982800 h 982800"/>
              <a:gd name="connsiteX3" fmla="*/ 0 w 1005840"/>
              <a:gd name="connsiteY3" fmla="*/ 0 h 982800"/>
              <a:gd name="connsiteX4" fmla="*/ 1005840 w 1005840"/>
              <a:gd name="connsiteY4" fmla="*/ 91440 h 982800"/>
              <a:gd name="connsiteX0" fmla="*/ 914400 w 914400"/>
              <a:gd name="connsiteY0" fmla="*/ 0 h 982800"/>
              <a:gd name="connsiteX1" fmla="*/ 914400 w 914400"/>
              <a:gd name="connsiteY1" fmla="*/ 982800 h 982800"/>
              <a:gd name="connsiteX2" fmla="*/ 0 w 914400"/>
              <a:gd name="connsiteY2" fmla="*/ 982800 h 982800"/>
              <a:gd name="connsiteX3" fmla="*/ 0 w 914400"/>
              <a:gd name="connsiteY3" fmla="*/ 0 h 982800"/>
              <a:gd name="connsiteX0" fmla="*/ 914400 w 914400"/>
              <a:gd name="connsiteY0" fmla="*/ 982800 h 982800"/>
              <a:gd name="connsiteX1" fmla="*/ 0 w 914400"/>
              <a:gd name="connsiteY1" fmla="*/ 982800 h 982800"/>
              <a:gd name="connsiteX2" fmla="*/ 0 w 914400"/>
              <a:gd name="connsiteY2" fmla="*/ 0 h 982800"/>
              <a:gd name="connsiteX0" fmla="*/ 0 w 0"/>
              <a:gd name="connsiteY0" fmla="*/ 982800 h 982800"/>
              <a:gd name="connsiteX1" fmla="*/ 0 w 0"/>
              <a:gd name="connsiteY1" fmla="*/ 0 h 982800"/>
            </a:gdLst>
            <a:ahLst/>
            <a:cxnLst>
              <a:cxn ang="0">
                <a:pos x="connsiteX0" y="connsiteY0"/>
              </a:cxn>
              <a:cxn ang="0">
                <a:pos x="connsiteX1" y="connsiteY1"/>
              </a:cxn>
            </a:cxnLst>
            <a:rect l="l" t="t" r="r" b="b"/>
            <a:pathLst>
              <a:path h="982800">
                <a:moveTo>
                  <a:pt x="0" y="982800"/>
                </a:moveTo>
                <a:lnTo>
                  <a:pt x="0" y="0"/>
                </a:lnTo>
              </a:path>
            </a:pathLst>
          </a:custGeom>
          <a:ln w="6350">
            <a:solidFill>
              <a:schemeClr val="tx1"/>
            </a:solidFill>
          </a:ln>
        </p:spPr>
        <p:txBody>
          <a:bodyPr/>
          <a:lstStyle>
            <a:lvl1pPr rtl="0">
              <a:spcAft>
                <a:spcPts val="0"/>
              </a:spcAft>
              <a:defRPr/>
            </a:lvl1pPr>
          </a:lstStyle>
          <a:p>
            <a:pPr lvl="0"/>
            <a:r>
              <a:rPr lang="de-DE" dirty="0"/>
              <a:t> </a:t>
            </a:r>
          </a:p>
        </p:txBody>
      </p:sp>
      <p:sp>
        <p:nvSpPr>
          <p:cNvPr id="35" name="Textplatzhalter 34">
            <a:extLst>
              <a:ext uri="{FF2B5EF4-FFF2-40B4-BE49-F238E27FC236}">
                <a16:creationId xmlns:a16="http://schemas.microsoft.com/office/drawing/2014/main" id="{DE14BFEB-E5B8-478E-A748-A400465F366E}"/>
              </a:ext>
            </a:extLst>
          </p:cNvPr>
          <p:cNvSpPr>
            <a:spLocks noGrp="1"/>
          </p:cNvSpPr>
          <p:nvPr>
            <p:ph type="body" sz="quarter" idx="26" hasCustomPrompt="1"/>
          </p:nvPr>
        </p:nvSpPr>
        <p:spPr>
          <a:xfrm>
            <a:off x="3216575" y="5111812"/>
            <a:ext cx="8496000" cy="982800"/>
          </a:xfrm>
        </p:spPr>
        <p:txBody>
          <a:bodyPr anchor="ctr"/>
          <a:lstStyle>
            <a:lvl1pPr rtl="0">
              <a:spcAft>
                <a:spcPts val="0"/>
              </a:spcAft>
              <a:defRPr sz="1400" b="0"/>
            </a:lvl1pPr>
          </a:lstStyle>
          <a:p>
            <a:pPr lvl="0"/>
            <a:r>
              <a:rPr lang="de-DE" dirty="0"/>
              <a:t>Kurze Beschreibung</a:t>
            </a:r>
          </a:p>
        </p:txBody>
      </p:sp>
      <p:sp>
        <p:nvSpPr>
          <p:cNvPr id="26" name="Textplatzhalter 2">
            <a:extLst>
              <a:ext uri="{FF2B5EF4-FFF2-40B4-BE49-F238E27FC236}">
                <a16:creationId xmlns:a16="http://schemas.microsoft.com/office/drawing/2014/main" id="{1C5AC341-043C-4F54-B808-AF6426474628}"/>
              </a:ext>
            </a:extLst>
          </p:cNvPr>
          <p:cNvSpPr>
            <a:spLocks noGrp="1"/>
          </p:cNvSpPr>
          <p:nvPr>
            <p:ph type="body" sz="quarter" idx="27" hasCustomPrompt="1"/>
          </p:nvPr>
        </p:nvSpPr>
        <p:spPr>
          <a:xfrm>
            <a:off x="479425" y="156260"/>
            <a:ext cx="11233150" cy="430887"/>
          </a:xfrm>
        </p:spPr>
        <p:txBody>
          <a:bodyPr anchor="b">
            <a:spAutoFit/>
          </a:bodyPr>
          <a:lstStyle>
            <a:lvl1pPr>
              <a:spcAft>
                <a:spcPts val="0"/>
              </a:spcAft>
              <a:defRPr sz="1400" b="0" i="1">
                <a:solidFill>
                  <a:schemeClr val="accent1"/>
                </a:solidFill>
              </a:defRPr>
            </a:lvl1pPr>
            <a:lvl2pPr>
              <a:defRPr sz="1400" b="0" i="1">
                <a:solidFill>
                  <a:schemeClr val="accent1"/>
                </a:solidFill>
              </a:defRPr>
            </a:lvl2pPr>
            <a:lvl3pPr>
              <a:defRPr sz="1400" b="0" i="1">
                <a:solidFill>
                  <a:schemeClr val="accent1"/>
                </a:solidFill>
              </a:defRPr>
            </a:lvl3pPr>
            <a:lvl4pPr>
              <a:defRPr sz="1400" b="0" i="1">
                <a:solidFill>
                  <a:schemeClr val="accent1"/>
                </a:solidFill>
              </a:defRPr>
            </a:lvl4pPr>
            <a:lvl5pPr>
              <a:defRPr sz="1400" b="0" i="1">
                <a:solidFill>
                  <a:schemeClr val="accent1"/>
                </a:solidFill>
              </a:defRPr>
            </a:lvl5pPr>
          </a:lstStyle>
          <a:p>
            <a:pPr lvl="0"/>
            <a:r>
              <a:rPr lang="de-DE" dirty="0" err="1"/>
              <a:t>Topline</a:t>
            </a:r>
            <a:r>
              <a:rPr lang="de-DE" dirty="0"/>
              <a:t> (z.B. Kapitel/kurze Beschreibung), PT Sans kursiv, 14 </a:t>
            </a:r>
            <a:r>
              <a:rPr lang="de-DE" dirty="0" err="1"/>
              <a:t>pt</a:t>
            </a:r>
            <a:br>
              <a:rPr lang="de-DE" dirty="0"/>
            </a:br>
            <a:r>
              <a:rPr lang="de-DE" dirty="0"/>
              <a:t>Optional: Zweizeilig</a:t>
            </a:r>
          </a:p>
        </p:txBody>
      </p:sp>
    </p:spTree>
    <p:extLst>
      <p:ext uri="{BB962C8B-B14F-4D97-AF65-F5344CB8AC3E}">
        <p14:creationId xmlns:p14="http://schemas.microsoft.com/office/powerpoint/2010/main" val="2585951489"/>
      </p:ext>
    </p:extLst>
  </p:cSld>
  <p:clrMapOvr>
    <a:masterClrMapping/>
  </p:clrMapOvr>
  <p:extLst>
    <p:ext uri="{DCECCB84-F9BA-43D5-87BE-67443E8EF086}">
      <p15:sldGuideLst xmlns:p15="http://schemas.microsoft.com/office/powerpoint/2012/main">
        <p15:guide id="2" pos="3931" userDrawn="1">
          <p15:clr>
            <a:srgbClr val="FBAE40"/>
          </p15:clr>
        </p15:guide>
        <p15:guide id="3" pos="3749"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ext ganze Breite">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7EE989DB-631D-48A2-B7FD-2053B399296C}"/>
              </a:ext>
            </a:extLst>
          </p:cNvPr>
          <p:cNvGraphicFramePr>
            <a:graphicFrameLocks noChangeAspect="1"/>
          </p:cNvGraphicFramePr>
          <p:nvPr userDrawn="1">
            <p:custDataLst>
              <p:tags r:id="rId1"/>
            </p:custDataLst>
            <p:extLst>
              <p:ext uri="{D42A27DB-BD31-4B8C-83A1-F6EECF244321}">
                <p14:modId xmlns:p14="http://schemas.microsoft.com/office/powerpoint/2010/main" val="18537704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6" name="Objekt 5" hidden="1">
                        <a:extLst>
                          <a:ext uri="{FF2B5EF4-FFF2-40B4-BE49-F238E27FC236}">
                            <a16:creationId xmlns:a16="http://schemas.microsoft.com/office/drawing/2014/main" id="{7EE989DB-631D-48A2-B7FD-2053B399296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FA4F4229-E8C8-4CBE-A19F-F2E39F8B974D}"/>
              </a:ext>
            </a:extLst>
          </p:cNvPr>
          <p:cNvSpPr>
            <a:spLocks noGrp="1"/>
          </p:cNvSpPr>
          <p:nvPr>
            <p:ph type="title" hasCustomPrompt="1"/>
          </p:nvPr>
        </p:nvSpPr>
        <p:spPr bwMode="gray">
          <a:xfrm>
            <a:off x="479425" y="739916"/>
            <a:ext cx="11233150" cy="443198"/>
          </a:xfrm>
        </p:spPr>
        <p:txBody>
          <a:bodyPr vert="horz"/>
          <a:lstStyle>
            <a:lvl1pPr rtl="0">
              <a:defRPr/>
            </a:lvl1pPr>
          </a:lstStyle>
          <a:p>
            <a:r>
              <a:rPr lang="de-DE" noProof="0" dirty="0"/>
              <a:t>Headline, PT Sans, 32 </a:t>
            </a:r>
            <a:r>
              <a:rPr lang="de-DE" noProof="0" dirty="0" err="1"/>
              <a:t>pt</a:t>
            </a:r>
            <a:endParaRPr lang="de-DE" noProof="0" dirty="0"/>
          </a:p>
        </p:txBody>
      </p:sp>
      <p:sp>
        <p:nvSpPr>
          <p:cNvPr id="5" name="Textplatzhalter 4">
            <a:extLst>
              <a:ext uri="{FF2B5EF4-FFF2-40B4-BE49-F238E27FC236}">
                <a16:creationId xmlns:a16="http://schemas.microsoft.com/office/drawing/2014/main" id="{367A2C7B-B1CB-4A40-9B2B-4BBEED823514}"/>
              </a:ext>
            </a:extLst>
          </p:cNvPr>
          <p:cNvSpPr>
            <a:spLocks noGrp="1"/>
          </p:cNvSpPr>
          <p:nvPr>
            <p:ph type="body" sz="quarter" idx="11" hasCustomPrompt="1"/>
          </p:nvPr>
        </p:nvSpPr>
        <p:spPr bwMode="gray">
          <a:xfrm>
            <a:off x="479423" y="1628775"/>
            <a:ext cx="11233152" cy="4464050"/>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e-DE" noProof="0" dirty="0"/>
              <a:t>Sub-Headline, PT Sans fett, 20 </a:t>
            </a:r>
            <a:r>
              <a:rPr lang="de-DE" noProof="0" dirty="0" err="1"/>
              <a:t>pt</a:t>
            </a:r>
            <a:endParaRPr lang="de-DE" noProof="0" dirty="0"/>
          </a:p>
          <a:p>
            <a:pPr lvl="1"/>
            <a:r>
              <a:rPr lang="de-DE" noProof="0" dirty="0"/>
              <a:t>Copy, PT Sans, 16 </a:t>
            </a:r>
            <a:r>
              <a:rPr lang="de-DE" noProof="0" dirty="0" err="1"/>
              <a:t>pt</a:t>
            </a:r>
            <a:endParaRPr lang="de-DE" noProof="0" dirty="0"/>
          </a:p>
          <a:p>
            <a:pPr lvl="2"/>
            <a:r>
              <a:rPr lang="de-DE" noProof="0" dirty="0"/>
              <a:t>1. Ebene, PT Sans, 16 </a:t>
            </a:r>
            <a:r>
              <a:rPr lang="de-DE" noProof="0" dirty="0" err="1"/>
              <a:t>pt</a:t>
            </a:r>
            <a:endParaRPr lang="de-DE" noProof="0" dirty="0"/>
          </a:p>
          <a:p>
            <a:pPr lvl="3"/>
            <a:r>
              <a:rPr lang="de-DE" noProof="0" dirty="0"/>
              <a:t>2. Ebene, PT Sans, 16 </a:t>
            </a:r>
            <a:r>
              <a:rPr lang="de-DE" noProof="0" dirty="0" err="1"/>
              <a:t>pt</a:t>
            </a:r>
            <a:endParaRPr lang="de-DE" noProof="0" dirty="0"/>
          </a:p>
          <a:p>
            <a:pPr lvl="4"/>
            <a:r>
              <a:rPr lang="de-DE" noProof="0" dirty="0"/>
              <a:t>3. Ebene, PT Sans, 16 </a:t>
            </a:r>
            <a:r>
              <a:rPr lang="de-DE" noProof="0" dirty="0" err="1"/>
              <a:t>pt</a:t>
            </a:r>
            <a:endParaRPr lang="de-DE" noProof="0" dirty="0"/>
          </a:p>
          <a:p>
            <a:pPr lvl="5"/>
            <a:r>
              <a:rPr lang="de-DE" noProof="0" dirty="0"/>
              <a:t>4. Ebene, PT Sans, 16 </a:t>
            </a:r>
            <a:r>
              <a:rPr lang="de-DE" noProof="0" dirty="0" err="1"/>
              <a:t>pt</a:t>
            </a:r>
            <a:endParaRPr lang="de-DE" noProof="0" dirty="0"/>
          </a:p>
          <a:p>
            <a:pPr lvl="6"/>
            <a:r>
              <a:rPr lang="de-DE" noProof="0" dirty="0"/>
              <a:t>5. Ebene, PT Sans, 16 </a:t>
            </a:r>
            <a:r>
              <a:rPr lang="de-DE" noProof="0" dirty="0" err="1"/>
              <a:t>pt</a:t>
            </a:r>
            <a:endParaRPr lang="de-DE" noProof="0" dirty="0"/>
          </a:p>
          <a:p>
            <a:pPr lvl="7"/>
            <a:r>
              <a:rPr lang="de-DE" noProof="0" dirty="0"/>
              <a:t>6. Ebene, PT Sans, 16 </a:t>
            </a:r>
            <a:r>
              <a:rPr lang="de-DE" noProof="0" dirty="0" err="1"/>
              <a:t>pt</a:t>
            </a:r>
            <a:endParaRPr lang="de-DE" noProof="0" dirty="0"/>
          </a:p>
          <a:p>
            <a:pPr lvl="8"/>
            <a:r>
              <a:rPr lang="de-DE" noProof="0" dirty="0"/>
              <a:t>7. Ebene, PT Sans, 16 </a:t>
            </a:r>
            <a:r>
              <a:rPr lang="de-DE" noProof="0" dirty="0" err="1"/>
              <a:t>pt</a:t>
            </a:r>
            <a:endParaRPr lang="de-DE" noProof="0" dirty="0"/>
          </a:p>
        </p:txBody>
      </p:sp>
      <p:sp>
        <p:nvSpPr>
          <p:cNvPr id="9" name="Textplatzhalter 2">
            <a:extLst>
              <a:ext uri="{FF2B5EF4-FFF2-40B4-BE49-F238E27FC236}">
                <a16:creationId xmlns:a16="http://schemas.microsoft.com/office/drawing/2014/main" id="{497FE522-04A1-4E37-A95E-F22176DC98F7}"/>
              </a:ext>
            </a:extLst>
          </p:cNvPr>
          <p:cNvSpPr>
            <a:spLocks noGrp="1"/>
          </p:cNvSpPr>
          <p:nvPr>
            <p:ph type="body" sz="quarter" idx="12" hasCustomPrompt="1"/>
          </p:nvPr>
        </p:nvSpPr>
        <p:spPr>
          <a:xfrm>
            <a:off x="479425" y="156260"/>
            <a:ext cx="11233150" cy="430887"/>
          </a:xfrm>
        </p:spPr>
        <p:txBody>
          <a:bodyPr anchor="b">
            <a:spAutoFit/>
          </a:bodyPr>
          <a:lstStyle>
            <a:lvl1pPr>
              <a:spcAft>
                <a:spcPts val="0"/>
              </a:spcAft>
              <a:defRPr sz="1400" b="0" i="1">
                <a:solidFill>
                  <a:schemeClr val="accent1"/>
                </a:solidFill>
              </a:defRPr>
            </a:lvl1pPr>
            <a:lvl2pPr>
              <a:defRPr sz="1400" b="0" i="1">
                <a:solidFill>
                  <a:schemeClr val="accent1"/>
                </a:solidFill>
              </a:defRPr>
            </a:lvl2pPr>
            <a:lvl3pPr>
              <a:defRPr sz="1400" b="0" i="1">
                <a:solidFill>
                  <a:schemeClr val="accent1"/>
                </a:solidFill>
              </a:defRPr>
            </a:lvl3pPr>
            <a:lvl4pPr>
              <a:defRPr sz="1400" b="0" i="1">
                <a:solidFill>
                  <a:schemeClr val="accent1"/>
                </a:solidFill>
              </a:defRPr>
            </a:lvl4pPr>
            <a:lvl5pPr>
              <a:defRPr sz="1400" b="0" i="1">
                <a:solidFill>
                  <a:schemeClr val="accent1"/>
                </a:solidFill>
              </a:defRPr>
            </a:lvl5pPr>
          </a:lstStyle>
          <a:p>
            <a:pPr lvl="0"/>
            <a:r>
              <a:rPr lang="de-DE" dirty="0" err="1"/>
              <a:t>Topline</a:t>
            </a:r>
            <a:r>
              <a:rPr lang="de-DE" dirty="0"/>
              <a:t> (z.B. Kapitel/kurze Beschreibung), PT Sans kursiv, 14 </a:t>
            </a:r>
            <a:r>
              <a:rPr lang="de-DE" dirty="0" err="1"/>
              <a:t>pt</a:t>
            </a:r>
            <a:br>
              <a:rPr lang="de-DE" dirty="0"/>
            </a:br>
            <a:r>
              <a:rPr lang="de-DE" dirty="0"/>
              <a:t>Optional: Zweizeilig</a:t>
            </a:r>
          </a:p>
        </p:txBody>
      </p:sp>
    </p:spTree>
    <p:extLst>
      <p:ext uri="{BB962C8B-B14F-4D97-AF65-F5344CB8AC3E}">
        <p14:creationId xmlns:p14="http://schemas.microsoft.com/office/powerpoint/2010/main" val="2283291733"/>
      </p:ext>
    </p:extLst>
  </p:cSld>
  <p:clrMapOvr>
    <a:masterClrMapping/>
  </p:clrMapOvr>
  <p:extLst>
    <p:ext uri="{DCECCB84-F9BA-43D5-87BE-67443E8EF086}">
      <p15:sldGuideLst xmlns:p15="http://schemas.microsoft.com/office/powerpoint/2012/main">
        <p15:guide id="1" pos="3749" userDrawn="1">
          <p15:clr>
            <a:srgbClr val="FBAE40"/>
          </p15:clr>
        </p15:guide>
        <p15:guide id="2" pos="3931"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 Spalten">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3ECF26CE-A90D-4DC6-A6FE-CF4FEFC13951}"/>
              </a:ext>
            </a:extLst>
          </p:cNvPr>
          <p:cNvGraphicFramePr>
            <a:graphicFrameLocks noChangeAspect="1"/>
          </p:cNvGraphicFramePr>
          <p:nvPr userDrawn="1">
            <p:custDataLst>
              <p:tags r:id="rId1"/>
            </p:custDataLst>
            <p:extLst>
              <p:ext uri="{D42A27DB-BD31-4B8C-83A1-F6EECF244321}">
                <p14:modId xmlns:p14="http://schemas.microsoft.com/office/powerpoint/2010/main" val="11653393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6" name="Objekt 5" hidden="1">
                        <a:extLst>
                          <a:ext uri="{FF2B5EF4-FFF2-40B4-BE49-F238E27FC236}">
                            <a16:creationId xmlns:a16="http://schemas.microsoft.com/office/drawing/2014/main" id="{3ECF26CE-A90D-4DC6-A6FE-CF4FEFC1395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FA4F4229-E8C8-4CBE-A19F-F2E39F8B974D}"/>
              </a:ext>
            </a:extLst>
          </p:cNvPr>
          <p:cNvSpPr>
            <a:spLocks noGrp="1"/>
          </p:cNvSpPr>
          <p:nvPr>
            <p:ph type="title" hasCustomPrompt="1"/>
          </p:nvPr>
        </p:nvSpPr>
        <p:spPr bwMode="gray">
          <a:xfrm>
            <a:off x="479425" y="739916"/>
            <a:ext cx="11233150" cy="443198"/>
          </a:xfrm>
        </p:spPr>
        <p:txBody>
          <a:bodyPr vert="horz"/>
          <a:lstStyle>
            <a:lvl1pPr rtl="0">
              <a:defRPr/>
            </a:lvl1pPr>
          </a:lstStyle>
          <a:p>
            <a:r>
              <a:rPr lang="de-DE" noProof="0"/>
              <a:t>Headline, PT Sans, 32 pt</a:t>
            </a:r>
            <a:endParaRPr lang="de-DE" noProof="0" dirty="0"/>
          </a:p>
        </p:txBody>
      </p:sp>
      <p:sp>
        <p:nvSpPr>
          <p:cNvPr id="5" name="Textplatzhalter 4">
            <a:extLst>
              <a:ext uri="{FF2B5EF4-FFF2-40B4-BE49-F238E27FC236}">
                <a16:creationId xmlns:a16="http://schemas.microsoft.com/office/drawing/2014/main" id="{367A2C7B-B1CB-4A40-9B2B-4BBEED823514}"/>
              </a:ext>
            </a:extLst>
          </p:cNvPr>
          <p:cNvSpPr>
            <a:spLocks noGrp="1"/>
          </p:cNvSpPr>
          <p:nvPr>
            <p:ph type="body" sz="quarter" idx="11" hasCustomPrompt="1"/>
          </p:nvPr>
        </p:nvSpPr>
        <p:spPr bwMode="gray">
          <a:xfrm>
            <a:off x="479423" y="1628775"/>
            <a:ext cx="5472111" cy="4464050"/>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e-DE" noProof="0" dirty="0"/>
              <a:t>Sub-Headline, PT Sans fett, 20 </a:t>
            </a:r>
            <a:r>
              <a:rPr lang="de-DE" noProof="0" dirty="0" err="1"/>
              <a:t>pt</a:t>
            </a:r>
            <a:endParaRPr lang="de-DE" noProof="0" dirty="0"/>
          </a:p>
          <a:p>
            <a:pPr lvl="1"/>
            <a:r>
              <a:rPr lang="de-DE" noProof="0" dirty="0"/>
              <a:t>Copy, PT Sans, 16 </a:t>
            </a:r>
            <a:r>
              <a:rPr lang="de-DE" noProof="0" dirty="0" err="1"/>
              <a:t>pt</a:t>
            </a:r>
            <a:endParaRPr lang="de-DE" noProof="0" dirty="0"/>
          </a:p>
          <a:p>
            <a:pPr lvl="2"/>
            <a:r>
              <a:rPr lang="de-DE" noProof="0" dirty="0"/>
              <a:t>1. Ebene, PT Sans, 16 </a:t>
            </a:r>
            <a:r>
              <a:rPr lang="de-DE" noProof="0" dirty="0" err="1"/>
              <a:t>pt</a:t>
            </a:r>
            <a:endParaRPr lang="de-DE" noProof="0" dirty="0"/>
          </a:p>
          <a:p>
            <a:pPr lvl="3"/>
            <a:r>
              <a:rPr lang="de-DE" noProof="0" dirty="0"/>
              <a:t>2. Ebene, PT Sans, 16 </a:t>
            </a:r>
            <a:r>
              <a:rPr lang="de-DE" noProof="0" dirty="0" err="1"/>
              <a:t>pt</a:t>
            </a:r>
            <a:endParaRPr lang="de-DE" noProof="0" dirty="0"/>
          </a:p>
          <a:p>
            <a:pPr lvl="4"/>
            <a:r>
              <a:rPr lang="de-DE" noProof="0" dirty="0"/>
              <a:t>3. Ebene, PT Sans, 16 </a:t>
            </a:r>
            <a:r>
              <a:rPr lang="de-DE" noProof="0" dirty="0" err="1"/>
              <a:t>pt</a:t>
            </a:r>
            <a:endParaRPr lang="de-DE" noProof="0" dirty="0"/>
          </a:p>
          <a:p>
            <a:pPr lvl="5"/>
            <a:r>
              <a:rPr lang="de-DE" noProof="0" dirty="0"/>
              <a:t>4. Ebene, PT Sans, 16 </a:t>
            </a:r>
            <a:r>
              <a:rPr lang="de-DE" noProof="0" dirty="0" err="1"/>
              <a:t>pt</a:t>
            </a:r>
            <a:endParaRPr lang="de-DE" noProof="0" dirty="0"/>
          </a:p>
          <a:p>
            <a:pPr lvl="6"/>
            <a:r>
              <a:rPr lang="de-DE" noProof="0" dirty="0"/>
              <a:t>5. Ebene, PT Sans, 16 </a:t>
            </a:r>
            <a:r>
              <a:rPr lang="de-DE" noProof="0" dirty="0" err="1"/>
              <a:t>pt</a:t>
            </a:r>
            <a:endParaRPr lang="de-DE" noProof="0" dirty="0"/>
          </a:p>
          <a:p>
            <a:pPr lvl="7"/>
            <a:r>
              <a:rPr lang="de-DE" noProof="0" dirty="0"/>
              <a:t>6. Ebene, PT Sans, 16 </a:t>
            </a:r>
            <a:r>
              <a:rPr lang="de-DE" noProof="0" dirty="0" err="1"/>
              <a:t>pt</a:t>
            </a:r>
            <a:endParaRPr lang="de-DE" noProof="0" dirty="0"/>
          </a:p>
          <a:p>
            <a:pPr lvl="8"/>
            <a:r>
              <a:rPr lang="de-DE" noProof="0" dirty="0"/>
              <a:t>7. Ebene, PT Sans, 16 </a:t>
            </a:r>
            <a:r>
              <a:rPr lang="de-DE" noProof="0" dirty="0" err="1"/>
              <a:t>pt</a:t>
            </a:r>
            <a:endParaRPr lang="de-DE" noProof="0" dirty="0"/>
          </a:p>
        </p:txBody>
      </p:sp>
      <p:sp>
        <p:nvSpPr>
          <p:cNvPr id="7" name="Textplatzhalter 6">
            <a:extLst>
              <a:ext uri="{FF2B5EF4-FFF2-40B4-BE49-F238E27FC236}">
                <a16:creationId xmlns:a16="http://schemas.microsoft.com/office/drawing/2014/main" id="{2F778BDD-DC71-4139-8AC3-AA24B513E71D}"/>
              </a:ext>
            </a:extLst>
          </p:cNvPr>
          <p:cNvSpPr>
            <a:spLocks noGrp="1"/>
          </p:cNvSpPr>
          <p:nvPr>
            <p:ph type="body" sz="quarter" idx="12" hasCustomPrompt="1"/>
          </p:nvPr>
        </p:nvSpPr>
        <p:spPr bwMode="gray">
          <a:xfrm>
            <a:off x="6240463" y="1628775"/>
            <a:ext cx="5472111" cy="4464050"/>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e-DE" noProof="0" dirty="0"/>
              <a:t>Sub-Headline, PT Sans fett, 20 </a:t>
            </a:r>
            <a:r>
              <a:rPr lang="de-DE" noProof="0" dirty="0" err="1"/>
              <a:t>pt</a:t>
            </a:r>
            <a:endParaRPr lang="de-DE" noProof="0" dirty="0"/>
          </a:p>
          <a:p>
            <a:pPr lvl="1"/>
            <a:r>
              <a:rPr lang="de-DE" noProof="0" dirty="0"/>
              <a:t>Copy, PT Sans, 16 </a:t>
            </a:r>
            <a:r>
              <a:rPr lang="de-DE" noProof="0" dirty="0" err="1"/>
              <a:t>pt</a:t>
            </a:r>
            <a:endParaRPr lang="de-DE" noProof="0" dirty="0"/>
          </a:p>
          <a:p>
            <a:pPr lvl="2"/>
            <a:r>
              <a:rPr lang="de-DE" noProof="0" dirty="0"/>
              <a:t>1. Ebene, PT Sans, 16 </a:t>
            </a:r>
            <a:r>
              <a:rPr lang="de-DE" noProof="0" dirty="0" err="1"/>
              <a:t>pt</a:t>
            </a:r>
            <a:endParaRPr lang="de-DE" noProof="0" dirty="0"/>
          </a:p>
          <a:p>
            <a:pPr lvl="3"/>
            <a:r>
              <a:rPr lang="de-DE" noProof="0" dirty="0"/>
              <a:t>2. Ebene, PT Sans, 16 </a:t>
            </a:r>
            <a:r>
              <a:rPr lang="de-DE" noProof="0" dirty="0" err="1"/>
              <a:t>pt</a:t>
            </a:r>
            <a:endParaRPr lang="de-DE" noProof="0" dirty="0"/>
          </a:p>
          <a:p>
            <a:pPr lvl="4"/>
            <a:r>
              <a:rPr lang="de-DE" noProof="0" dirty="0"/>
              <a:t>3. Ebene, PT Sans, 16 </a:t>
            </a:r>
            <a:r>
              <a:rPr lang="de-DE" noProof="0" dirty="0" err="1"/>
              <a:t>pt</a:t>
            </a:r>
            <a:endParaRPr lang="de-DE" noProof="0" dirty="0"/>
          </a:p>
          <a:p>
            <a:pPr lvl="5"/>
            <a:r>
              <a:rPr lang="de-DE" noProof="0" dirty="0"/>
              <a:t>4. Ebene, PT Sans, 16 </a:t>
            </a:r>
            <a:r>
              <a:rPr lang="de-DE" noProof="0" dirty="0" err="1"/>
              <a:t>pt</a:t>
            </a:r>
            <a:endParaRPr lang="de-DE" noProof="0" dirty="0"/>
          </a:p>
          <a:p>
            <a:pPr lvl="6"/>
            <a:r>
              <a:rPr lang="de-DE" noProof="0" dirty="0"/>
              <a:t>5. Ebene, PT Sans, 16 </a:t>
            </a:r>
            <a:r>
              <a:rPr lang="de-DE" noProof="0" dirty="0" err="1"/>
              <a:t>pt</a:t>
            </a:r>
            <a:endParaRPr lang="de-DE" noProof="0" dirty="0"/>
          </a:p>
          <a:p>
            <a:pPr lvl="7"/>
            <a:r>
              <a:rPr lang="de-DE" noProof="0" dirty="0"/>
              <a:t>6. Ebene, PT Sans, 16 </a:t>
            </a:r>
            <a:r>
              <a:rPr lang="de-DE" noProof="0" dirty="0" err="1"/>
              <a:t>pt</a:t>
            </a:r>
            <a:endParaRPr lang="de-DE" noProof="0" dirty="0"/>
          </a:p>
          <a:p>
            <a:pPr lvl="8"/>
            <a:r>
              <a:rPr lang="de-DE" noProof="0" dirty="0"/>
              <a:t>7. Ebene, PT Sans, 16 </a:t>
            </a:r>
            <a:r>
              <a:rPr lang="de-DE" noProof="0" dirty="0" err="1"/>
              <a:t>pt</a:t>
            </a:r>
            <a:endParaRPr lang="de-DE" noProof="0" dirty="0"/>
          </a:p>
        </p:txBody>
      </p:sp>
      <p:sp>
        <p:nvSpPr>
          <p:cNvPr id="9" name="Textplatzhalter 2">
            <a:extLst>
              <a:ext uri="{FF2B5EF4-FFF2-40B4-BE49-F238E27FC236}">
                <a16:creationId xmlns:a16="http://schemas.microsoft.com/office/drawing/2014/main" id="{B3FB1DB9-509A-49AA-9464-128B7899BFE9}"/>
              </a:ext>
            </a:extLst>
          </p:cNvPr>
          <p:cNvSpPr>
            <a:spLocks noGrp="1"/>
          </p:cNvSpPr>
          <p:nvPr>
            <p:ph type="body" sz="quarter" idx="13" hasCustomPrompt="1"/>
          </p:nvPr>
        </p:nvSpPr>
        <p:spPr>
          <a:xfrm>
            <a:off x="479425" y="156260"/>
            <a:ext cx="11233150" cy="430887"/>
          </a:xfrm>
        </p:spPr>
        <p:txBody>
          <a:bodyPr anchor="b">
            <a:spAutoFit/>
          </a:bodyPr>
          <a:lstStyle>
            <a:lvl1pPr>
              <a:spcAft>
                <a:spcPts val="0"/>
              </a:spcAft>
              <a:defRPr sz="1400" b="0" i="1">
                <a:solidFill>
                  <a:schemeClr val="accent1"/>
                </a:solidFill>
              </a:defRPr>
            </a:lvl1pPr>
            <a:lvl2pPr>
              <a:defRPr sz="1400" b="0" i="1">
                <a:solidFill>
                  <a:schemeClr val="accent1"/>
                </a:solidFill>
              </a:defRPr>
            </a:lvl2pPr>
            <a:lvl3pPr>
              <a:defRPr sz="1400" b="0" i="1">
                <a:solidFill>
                  <a:schemeClr val="accent1"/>
                </a:solidFill>
              </a:defRPr>
            </a:lvl3pPr>
            <a:lvl4pPr>
              <a:defRPr sz="1400" b="0" i="1">
                <a:solidFill>
                  <a:schemeClr val="accent1"/>
                </a:solidFill>
              </a:defRPr>
            </a:lvl4pPr>
            <a:lvl5pPr>
              <a:defRPr sz="1400" b="0" i="1">
                <a:solidFill>
                  <a:schemeClr val="accent1"/>
                </a:solidFill>
              </a:defRPr>
            </a:lvl5pPr>
          </a:lstStyle>
          <a:p>
            <a:pPr lvl="0"/>
            <a:r>
              <a:rPr lang="de-DE" dirty="0" err="1"/>
              <a:t>Topline</a:t>
            </a:r>
            <a:r>
              <a:rPr lang="de-DE" dirty="0"/>
              <a:t> (z.B. Kapitel/kurze Beschreibung), PT Sans kursiv, 14 </a:t>
            </a:r>
            <a:r>
              <a:rPr lang="de-DE" dirty="0" err="1"/>
              <a:t>pt</a:t>
            </a:r>
            <a:br>
              <a:rPr lang="de-DE" dirty="0"/>
            </a:br>
            <a:r>
              <a:rPr lang="de-DE" dirty="0"/>
              <a:t>Optional: Zweizeilig</a:t>
            </a:r>
          </a:p>
        </p:txBody>
      </p:sp>
    </p:spTree>
    <p:extLst>
      <p:ext uri="{BB962C8B-B14F-4D97-AF65-F5344CB8AC3E}">
        <p14:creationId xmlns:p14="http://schemas.microsoft.com/office/powerpoint/2010/main" val="1315763730"/>
      </p:ext>
    </p:extLst>
  </p:cSld>
  <p:clrMapOvr>
    <a:masterClrMapping/>
  </p:clrMapOvr>
  <p:extLst>
    <p:ext uri="{DCECCB84-F9BA-43D5-87BE-67443E8EF086}">
      <p15:sldGuideLst xmlns:p15="http://schemas.microsoft.com/office/powerpoint/2012/main">
        <p15:guide id="1" pos="3749" userDrawn="1">
          <p15:clr>
            <a:srgbClr val="FBAE40"/>
          </p15:clr>
        </p15:guide>
        <p15:guide id="2" pos="3931" userDrawn="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3 Spalten">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F00F4F25-C7EB-4459-B9D7-0BE7CF6FBB85}"/>
              </a:ext>
            </a:extLst>
          </p:cNvPr>
          <p:cNvGraphicFramePr>
            <a:graphicFrameLocks noChangeAspect="1"/>
          </p:cNvGraphicFramePr>
          <p:nvPr userDrawn="1">
            <p:custDataLst>
              <p:tags r:id="rId1"/>
            </p:custDataLst>
            <p:extLst>
              <p:ext uri="{D42A27DB-BD31-4B8C-83A1-F6EECF244321}">
                <p14:modId xmlns:p14="http://schemas.microsoft.com/office/powerpoint/2010/main" val="23081463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6" name="Objekt 5" hidden="1">
                        <a:extLst>
                          <a:ext uri="{FF2B5EF4-FFF2-40B4-BE49-F238E27FC236}">
                            <a16:creationId xmlns:a16="http://schemas.microsoft.com/office/drawing/2014/main" id="{F00F4F25-C7EB-4459-B9D7-0BE7CF6FBB8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FA4F4229-E8C8-4CBE-A19F-F2E39F8B974D}"/>
              </a:ext>
            </a:extLst>
          </p:cNvPr>
          <p:cNvSpPr>
            <a:spLocks noGrp="1"/>
          </p:cNvSpPr>
          <p:nvPr>
            <p:ph type="title" hasCustomPrompt="1"/>
          </p:nvPr>
        </p:nvSpPr>
        <p:spPr bwMode="gray">
          <a:xfrm>
            <a:off x="479425" y="739916"/>
            <a:ext cx="11233150" cy="443198"/>
          </a:xfrm>
        </p:spPr>
        <p:txBody>
          <a:bodyPr vert="horz"/>
          <a:lstStyle>
            <a:lvl1pPr rtl="0">
              <a:defRPr/>
            </a:lvl1pPr>
          </a:lstStyle>
          <a:p>
            <a:r>
              <a:rPr lang="de-DE" noProof="0"/>
              <a:t>Headline, PT Sans, 32 pt</a:t>
            </a:r>
            <a:endParaRPr lang="de-DE" noProof="0" dirty="0"/>
          </a:p>
        </p:txBody>
      </p:sp>
      <p:sp>
        <p:nvSpPr>
          <p:cNvPr id="5" name="Textplatzhalter 4">
            <a:extLst>
              <a:ext uri="{FF2B5EF4-FFF2-40B4-BE49-F238E27FC236}">
                <a16:creationId xmlns:a16="http://schemas.microsoft.com/office/drawing/2014/main" id="{367A2C7B-B1CB-4A40-9B2B-4BBEED823514}"/>
              </a:ext>
            </a:extLst>
          </p:cNvPr>
          <p:cNvSpPr>
            <a:spLocks noGrp="1"/>
          </p:cNvSpPr>
          <p:nvPr>
            <p:ph type="body" sz="quarter" idx="11" hasCustomPrompt="1"/>
          </p:nvPr>
        </p:nvSpPr>
        <p:spPr bwMode="gray">
          <a:xfrm>
            <a:off x="479424" y="1628775"/>
            <a:ext cx="3552588" cy="4464050"/>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e-DE" noProof="0" dirty="0"/>
              <a:t>Sub-Headline, PT Sans fett, 20 </a:t>
            </a:r>
            <a:r>
              <a:rPr lang="de-DE" noProof="0" dirty="0" err="1"/>
              <a:t>pt</a:t>
            </a:r>
            <a:endParaRPr lang="de-DE" noProof="0" dirty="0"/>
          </a:p>
          <a:p>
            <a:pPr lvl="1"/>
            <a:r>
              <a:rPr lang="de-DE" noProof="0" dirty="0"/>
              <a:t>Copy, PT Sans, 16 </a:t>
            </a:r>
            <a:r>
              <a:rPr lang="de-DE" noProof="0" dirty="0" err="1"/>
              <a:t>pt</a:t>
            </a:r>
            <a:endParaRPr lang="de-DE" noProof="0" dirty="0"/>
          </a:p>
          <a:p>
            <a:pPr lvl="2"/>
            <a:r>
              <a:rPr lang="de-DE" noProof="0" dirty="0"/>
              <a:t>1. Ebene, PT Sans, 16 </a:t>
            </a:r>
            <a:r>
              <a:rPr lang="de-DE" noProof="0" dirty="0" err="1"/>
              <a:t>pt</a:t>
            </a:r>
            <a:endParaRPr lang="de-DE" noProof="0" dirty="0"/>
          </a:p>
          <a:p>
            <a:pPr lvl="3"/>
            <a:r>
              <a:rPr lang="de-DE" noProof="0" dirty="0"/>
              <a:t>2. Ebene, PT Sans, 16 </a:t>
            </a:r>
            <a:r>
              <a:rPr lang="de-DE" noProof="0" dirty="0" err="1"/>
              <a:t>pt</a:t>
            </a:r>
            <a:endParaRPr lang="de-DE" noProof="0" dirty="0"/>
          </a:p>
          <a:p>
            <a:pPr lvl="4"/>
            <a:r>
              <a:rPr lang="de-DE" noProof="0" dirty="0"/>
              <a:t>3. Ebene, PT Sans, 16 </a:t>
            </a:r>
            <a:r>
              <a:rPr lang="de-DE" noProof="0" dirty="0" err="1"/>
              <a:t>pt</a:t>
            </a:r>
            <a:endParaRPr lang="de-DE" noProof="0" dirty="0"/>
          </a:p>
          <a:p>
            <a:pPr lvl="5"/>
            <a:r>
              <a:rPr lang="de-DE" noProof="0" dirty="0"/>
              <a:t>4. Ebene, PT Sans, 16 </a:t>
            </a:r>
            <a:r>
              <a:rPr lang="de-DE" noProof="0" dirty="0" err="1"/>
              <a:t>pt</a:t>
            </a:r>
            <a:endParaRPr lang="de-DE" noProof="0" dirty="0"/>
          </a:p>
          <a:p>
            <a:pPr lvl="6"/>
            <a:r>
              <a:rPr lang="de-DE" noProof="0" dirty="0"/>
              <a:t>5. Ebene, PT Sans, 16 </a:t>
            </a:r>
            <a:r>
              <a:rPr lang="de-DE" noProof="0" dirty="0" err="1"/>
              <a:t>pt</a:t>
            </a:r>
            <a:endParaRPr lang="de-DE" noProof="0" dirty="0"/>
          </a:p>
          <a:p>
            <a:pPr lvl="7"/>
            <a:r>
              <a:rPr lang="de-DE" noProof="0" dirty="0"/>
              <a:t>6. Ebene, PT Sans, 16 </a:t>
            </a:r>
            <a:r>
              <a:rPr lang="de-DE" noProof="0" dirty="0" err="1"/>
              <a:t>pt</a:t>
            </a:r>
            <a:endParaRPr lang="de-DE" noProof="0" dirty="0"/>
          </a:p>
          <a:p>
            <a:pPr lvl="8"/>
            <a:r>
              <a:rPr lang="de-DE" noProof="0" dirty="0"/>
              <a:t>7. Ebene, PT Sans, 16 </a:t>
            </a:r>
            <a:r>
              <a:rPr lang="de-DE" noProof="0" dirty="0" err="1"/>
              <a:t>pt</a:t>
            </a:r>
            <a:endParaRPr lang="de-DE" noProof="0" dirty="0"/>
          </a:p>
        </p:txBody>
      </p:sp>
      <p:sp>
        <p:nvSpPr>
          <p:cNvPr id="7" name="Textplatzhalter 6">
            <a:extLst>
              <a:ext uri="{FF2B5EF4-FFF2-40B4-BE49-F238E27FC236}">
                <a16:creationId xmlns:a16="http://schemas.microsoft.com/office/drawing/2014/main" id="{2F778BDD-DC71-4139-8AC3-AA24B513E71D}"/>
              </a:ext>
            </a:extLst>
          </p:cNvPr>
          <p:cNvSpPr>
            <a:spLocks noGrp="1"/>
          </p:cNvSpPr>
          <p:nvPr>
            <p:ph type="body" sz="quarter" idx="12" hasCustomPrompt="1"/>
          </p:nvPr>
        </p:nvSpPr>
        <p:spPr bwMode="gray">
          <a:xfrm>
            <a:off x="4319400" y="1628775"/>
            <a:ext cx="3552588" cy="4464050"/>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e-DE" noProof="0" dirty="0"/>
              <a:t>Sub-Headline, PT Sans fett, 20 </a:t>
            </a:r>
            <a:r>
              <a:rPr lang="de-DE" noProof="0" dirty="0" err="1"/>
              <a:t>pt</a:t>
            </a:r>
            <a:endParaRPr lang="de-DE" noProof="0" dirty="0"/>
          </a:p>
          <a:p>
            <a:pPr lvl="1"/>
            <a:r>
              <a:rPr lang="de-DE" noProof="0" dirty="0"/>
              <a:t>Copy, PT Sans, 16 </a:t>
            </a:r>
            <a:r>
              <a:rPr lang="de-DE" noProof="0" dirty="0" err="1"/>
              <a:t>pt</a:t>
            </a:r>
            <a:endParaRPr lang="de-DE" noProof="0" dirty="0"/>
          </a:p>
          <a:p>
            <a:pPr lvl="2"/>
            <a:r>
              <a:rPr lang="de-DE" noProof="0" dirty="0"/>
              <a:t>1. Ebene, PT Sans, 16 </a:t>
            </a:r>
            <a:r>
              <a:rPr lang="de-DE" noProof="0" dirty="0" err="1"/>
              <a:t>pt</a:t>
            </a:r>
            <a:endParaRPr lang="de-DE" noProof="0" dirty="0"/>
          </a:p>
          <a:p>
            <a:pPr lvl="3"/>
            <a:r>
              <a:rPr lang="de-DE" noProof="0" dirty="0"/>
              <a:t>2. Ebene, PT Sans, 16 </a:t>
            </a:r>
            <a:r>
              <a:rPr lang="de-DE" noProof="0" dirty="0" err="1"/>
              <a:t>pt</a:t>
            </a:r>
            <a:endParaRPr lang="de-DE" noProof="0" dirty="0"/>
          </a:p>
          <a:p>
            <a:pPr lvl="4"/>
            <a:r>
              <a:rPr lang="de-DE" noProof="0" dirty="0"/>
              <a:t>3. Ebene, PT Sans, 16 </a:t>
            </a:r>
            <a:r>
              <a:rPr lang="de-DE" noProof="0" dirty="0" err="1"/>
              <a:t>pt</a:t>
            </a:r>
            <a:endParaRPr lang="de-DE" noProof="0" dirty="0"/>
          </a:p>
          <a:p>
            <a:pPr lvl="5"/>
            <a:r>
              <a:rPr lang="de-DE" noProof="0" dirty="0"/>
              <a:t>4. Ebene, PT Sans, 16 </a:t>
            </a:r>
            <a:r>
              <a:rPr lang="de-DE" noProof="0" dirty="0" err="1"/>
              <a:t>pt</a:t>
            </a:r>
            <a:endParaRPr lang="de-DE" noProof="0" dirty="0"/>
          </a:p>
          <a:p>
            <a:pPr lvl="6"/>
            <a:r>
              <a:rPr lang="de-DE" noProof="0" dirty="0"/>
              <a:t>5. Ebene, PT Sans, 16 </a:t>
            </a:r>
            <a:r>
              <a:rPr lang="de-DE" noProof="0" dirty="0" err="1"/>
              <a:t>pt</a:t>
            </a:r>
            <a:endParaRPr lang="de-DE" noProof="0" dirty="0"/>
          </a:p>
          <a:p>
            <a:pPr lvl="7"/>
            <a:r>
              <a:rPr lang="de-DE" noProof="0" dirty="0"/>
              <a:t>6. Ebene, PT Sans, 16 </a:t>
            </a:r>
            <a:r>
              <a:rPr lang="de-DE" noProof="0" dirty="0" err="1"/>
              <a:t>pt</a:t>
            </a:r>
            <a:endParaRPr lang="de-DE" noProof="0" dirty="0"/>
          </a:p>
          <a:p>
            <a:pPr lvl="8"/>
            <a:r>
              <a:rPr lang="de-DE" noProof="0" dirty="0"/>
              <a:t>7. Ebene, PT Sans, 16 </a:t>
            </a:r>
            <a:r>
              <a:rPr lang="de-DE" noProof="0" dirty="0" err="1"/>
              <a:t>pt</a:t>
            </a:r>
            <a:endParaRPr lang="de-DE" noProof="0" dirty="0"/>
          </a:p>
        </p:txBody>
      </p:sp>
      <p:sp>
        <p:nvSpPr>
          <p:cNvPr id="9" name="Textplatzhalter 8">
            <a:extLst>
              <a:ext uri="{FF2B5EF4-FFF2-40B4-BE49-F238E27FC236}">
                <a16:creationId xmlns:a16="http://schemas.microsoft.com/office/drawing/2014/main" id="{6B133476-BB35-4E82-AEA0-BC4A2B21AC70}"/>
              </a:ext>
            </a:extLst>
          </p:cNvPr>
          <p:cNvSpPr>
            <a:spLocks noGrp="1"/>
          </p:cNvSpPr>
          <p:nvPr>
            <p:ph type="body" sz="quarter" idx="13" hasCustomPrompt="1"/>
          </p:nvPr>
        </p:nvSpPr>
        <p:spPr bwMode="gray">
          <a:xfrm>
            <a:off x="8159375" y="1628775"/>
            <a:ext cx="3553199" cy="4464000"/>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e-DE" noProof="0" dirty="0"/>
              <a:t>Sub-Headline, PT Sans fett, 20 </a:t>
            </a:r>
            <a:r>
              <a:rPr lang="de-DE" noProof="0" dirty="0" err="1"/>
              <a:t>pt</a:t>
            </a:r>
            <a:endParaRPr lang="de-DE" noProof="0" dirty="0"/>
          </a:p>
          <a:p>
            <a:pPr lvl="1"/>
            <a:r>
              <a:rPr lang="de-DE" noProof="0" dirty="0"/>
              <a:t>Copy, PT Sans, 16 </a:t>
            </a:r>
            <a:r>
              <a:rPr lang="de-DE" noProof="0" dirty="0" err="1"/>
              <a:t>pt</a:t>
            </a:r>
            <a:endParaRPr lang="de-DE" noProof="0" dirty="0"/>
          </a:p>
          <a:p>
            <a:pPr lvl="2"/>
            <a:r>
              <a:rPr lang="de-DE" noProof="0" dirty="0"/>
              <a:t>1. Ebene, PT Sans, 16 </a:t>
            </a:r>
            <a:r>
              <a:rPr lang="de-DE" noProof="0" dirty="0" err="1"/>
              <a:t>pt</a:t>
            </a:r>
            <a:endParaRPr lang="de-DE" noProof="0" dirty="0"/>
          </a:p>
          <a:p>
            <a:pPr lvl="3"/>
            <a:r>
              <a:rPr lang="de-DE" noProof="0" dirty="0"/>
              <a:t>2. Ebene, PT Sans, 16 </a:t>
            </a:r>
            <a:r>
              <a:rPr lang="de-DE" noProof="0" dirty="0" err="1"/>
              <a:t>pt</a:t>
            </a:r>
            <a:endParaRPr lang="de-DE" noProof="0" dirty="0"/>
          </a:p>
          <a:p>
            <a:pPr lvl="4"/>
            <a:r>
              <a:rPr lang="de-DE" noProof="0" dirty="0"/>
              <a:t>3. Ebene, PT Sans, 16 </a:t>
            </a:r>
            <a:r>
              <a:rPr lang="de-DE" noProof="0" dirty="0" err="1"/>
              <a:t>pt</a:t>
            </a:r>
            <a:endParaRPr lang="de-DE" noProof="0" dirty="0"/>
          </a:p>
          <a:p>
            <a:pPr lvl="5"/>
            <a:r>
              <a:rPr lang="de-DE" noProof="0" dirty="0"/>
              <a:t>4. Ebene, PT Sans, 16 </a:t>
            </a:r>
            <a:r>
              <a:rPr lang="de-DE" noProof="0" dirty="0" err="1"/>
              <a:t>pt</a:t>
            </a:r>
            <a:endParaRPr lang="de-DE" noProof="0" dirty="0"/>
          </a:p>
          <a:p>
            <a:pPr lvl="6"/>
            <a:r>
              <a:rPr lang="de-DE" noProof="0" dirty="0"/>
              <a:t>5. Ebene, PT Sans, 16 </a:t>
            </a:r>
            <a:r>
              <a:rPr lang="de-DE" noProof="0" dirty="0" err="1"/>
              <a:t>pt</a:t>
            </a:r>
            <a:endParaRPr lang="de-DE" noProof="0" dirty="0"/>
          </a:p>
          <a:p>
            <a:pPr lvl="7"/>
            <a:r>
              <a:rPr lang="de-DE" noProof="0" dirty="0"/>
              <a:t>6. Ebene, PT Sans, 16 </a:t>
            </a:r>
            <a:r>
              <a:rPr lang="de-DE" noProof="0" dirty="0" err="1"/>
              <a:t>pt</a:t>
            </a:r>
            <a:endParaRPr lang="de-DE" noProof="0" dirty="0"/>
          </a:p>
          <a:p>
            <a:pPr lvl="8"/>
            <a:r>
              <a:rPr lang="de-DE" noProof="0" dirty="0"/>
              <a:t>7. Ebene, PT Sans, 16 </a:t>
            </a:r>
            <a:r>
              <a:rPr lang="de-DE" noProof="0" dirty="0" err="1"/>
              <a:t>pt</a:t>
            </a:r>
            <a:endParaRPr lang="de-DE" noProof="0" dirty="0"/>
          </a:p>
        </p:txBody>
      </p:sp>
      <p:sp>
        <p:nvSpPr>
          <p:cNvPr id="10" name="Textplatzhalter 2">
            <a:extLst>
              <a:ext uri="{FF2B5EF4-FFF2-40B4-BE49-F238E27FC236}">
                <a16:creationId xmlns:a16="http://schemas.microsoft.com/office/drawing/2014/main" id="{202C7ADC-DFA4-4CC5-BA95-5E94CCEF1CF1}"/>
              </a:ext>
            </a:extLst>
          </p:cNvPr>
          <p:cNvSpPr>
            <a:spLocks noGrp="1"/>
          </p:cNvSpPr>
          <p:nvPr>
            <p:ph type="body" sz="quarter" idx="14" hasCustomPrompt="1"/>
          </p:nvPr>
        </p:nvSpPr>
        <p:spPr>
          <a:xfrm>
            <a:off x="479425" y="156260"/>
            <a:ext cx="11233150" cy="430887"/>
          </a:xfrm>
        </p:spPr>
        <p:txBody>
          <a:bodyPr anchor="b">
            <a:spAutoFit/>
          </a:bodyPr>
          <a:lstStyle>
            <a:lvl1pPr>
              <a:spcAft>
                <a:spcPts val="0"/>
              </a:spcAft>
              <a:defRPr sz="1400" b="0" i="1">
                <a:solidFill>
                  <a:schemeClr val="accent1"/>
                </a:solidFill>
              </a:defRPr>
            </a:lvl1pPr>
            <a:lvl2pPr>
              <a:defRPr sz="1400" b="0" i="1">
                <a:solidFill>
                  <a:schemeClr val="accent1"/>
                </a:solidFill>
              </a:defRPr>
            </a:lvl2pPr>
            <a:lvl3pPr>
              <a:defRPr sz="1400" b="0" i="1">
                <a:solidFill>
                  <a:schemeClr val="accent1"/>
                </a:solidFill>
              </a:defRPr>
            </a:lvl3pPr>
            <a:lvl4pPr>
              <a:defRPr sz="1400" b="0" i="1">
                <a:solidFill>
                  <a:schemeClr val="accent1"/>
                </a:solidFill>
              </a:defRPr>
            </a:lvl4pPr>
            <a:lvl5pPr>
              <a:defRPr sz="1400" b="0" i="1">
                <a:solidFill>
                  <a:schemeClr val="accent1"/>
                </a:solidFill>
              </a:defRPr>
            </a:lvl5pPr>
          </a:lstStyle>
          <a:p>
            <a:pPr lvl="0"/>
            <a:r>
              <a:rPr lang="de-DE" dirty="0" err="1"/>
              <a:t>Topline</a:t>
            </a:r>
            <a:r>
              <a:rPr lang="de-DE" dirty="0"/>
              <a:t> (z.B. Kapitel/kurze Beschreibung), PT Sans kursiv, 14 </a:t>
            </a:r>
            <a:r>
              <a:rPr lang="de-DE" dirty="0" err="1"/>
              <a:t>pt</a:t>
            </a:r>
            <a:br>
              <a:rPr lang="de-DE" dirty="0"/>
            </a:br>
            <a:r>
              <a:rPr lang="de-DE" dirty="0"/>
              <a:t>Optional: Zweizeilig</a:t>
            </a:r>
          </a:p>
        </p:txBody>
      </p:sp>
    </p:spTree>
    <p:extLst>
      <p:ext uri="{BB962C8B-B14F-4D97-AF65-F5344CB8AC3E}">
        <p14:creationId xmlns:p14="http://schemas.microsoft.com/office/powerpoint/2010/main" val="75114549"/>
      </p:ext>
    </p:extLst>
  </p:cSld>
  <p:clrMapOvr>
    <a:masterClrMapping/>
  </p:clrMapOvr>
  <p:extLst>
    <p:ext uri="{DCECCB84-F9BA-43D5-87BE-67443E8EF086}">
      <p15:sldGuideLst xmlns:p15="http://schemas.microsoft.com/office/powerpoint/2012/main">
        <p15:guide id="1" pos="2544" userDrawn="1">
          <p15:clr>
            <a:srgbClr val="FBAE40"/>
          </p15:clr>
        </p15:guide>
        <p15:guide id="2" pos="2718" userDrawn="1">
          <p15:clr>
            <a:srgbClr val="FBAE40"/>
          </p15:clr>
        </p15:guide>
        <p15:guide id="3" pos="4962" userDrawn="1">
          <p15:clr>
            <a:srgbClr val="FBAE40"/>
          </p15:clr>
        </p15:guide>
        <p15:guide id="4" pos="5139"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3 Grafik + Text">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30ACD0F2-17D0-4B5D-B6D0-73C57636DCCE}"/>
              </a:ext>
            </a:extLst>
          </p:cNvPr>
          <p:cNvGraphicFramePr>
            <a:graphicFrameLocks noChangeAspect="1"/>
          </p:cNvGraphicFramePr>
          <p:nvPr userDrawn="1">
            <p:custDataLst>
              <p:tags r:id="rId1"/>
            </p:custDataLst>
            <p:extLst>
              <p:ext uri="{D42A27DB-BD31-4B8C-83A1-F6EECF244321}">
                <p14:modId xmlns:p14="http://schemas.microsoft.com/office/powerpoint/2010/main" val="37066943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6" name="Objekt 5" hidden="1">
                        <a:extLst>
                          <a:ext uri="{FF2B5EF4-FFF2-40B4-BE49-F238E27FC236}">
                            <a16:creationId xmlns:a16="http://schemas.microsoft.com/office/drawing/2014/main" id="{30ACD0F2-17D0-4B5D-B6D0-73C57636DCC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FA4F4229-E8C8-4CBE-A19F-F2E39F8B974D}"/>
              </a:ext>
            </a:extLst>
          </p:cNvPr>
          <p:cNvSpPr>
            <a:spLocks noGrp="1"/>
          </p:cNvSpPr>
          <p:nvPr>
            <p:ph type="title" hasCustomPrompt="1"/>
          </p:nvPr>
        </p:nvSpPr>
        <p:spPr bwMode="gray">
          <a:xfrm>
            <a:off x="479425" y="739916"/>
            <a:ext cx="11233150" cy="443198"/>
          </a:xfrm>
        </p:spPr>
        <p:txBody>
          <a:bodyPr vert="horz"/>
          <a:lstStyle>
            <a:lvl1pPr rtl="0">
              <a:defRPr/>
            </a:lvl1pPr>
          </a:lstStyle>
          <a:p>
            <a:r>
              <a:rPr lang="de-DE" noProof="0" dirty="0"/>
              <a:t>Headline, PT Sans, 32 </a:t>
            </a:r>
            <a:r>
              <a:rPr lang="de-DE" noProof="0" dirty="0" err="1"/>
              <a:t>pt</a:t>
            </a:r>
            <a:endParaRPr lang="de-DE" noProof="0" dirty="0"/>
          </a:p>
        </p:txBody>
      </p:sp>
      <p:sp>
        <p:nvSpPr>
          <p:cNvPr id="5" name="Textplatzhalter 4">
            <a:extLst>
              <a:ext uri="{FF2B5EF4-FFF2-40B4-BE49-F238E27FC236}">
                <a16:creationId xmlns:a16="http://schemas.microsoft.com/office/drawing/2014/main" id="{367A2C7B-B1CB-4A40-9B2B-4BBEED823514}"/>
              </a:ext>
            </a:extLst>
          </p:cNvPr>
          <p:cNvSpPr>
            <a:spLocks noGrp="1"/>
          </p:cNvSpPr>
          <p:nvPr>
            <p:ph type="body" sz="quarter" idx="11" hasCustomPrompt="1"/>
          </p:nvPr>
        </p:nvSpPr>
        <p:spPr bwMode="gray">
          <a:xfrm>
            <a:off x="8159987" y="1628775"/>
            <a:ext cx="3552588" cy="4464050"/>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e-DE" noProof="0" dirty="0"/>
              <a:t>Sub-Headline, PT Sans fett, 20 </a:t>
            </a:r>
            <a:r>
              <a:rPr lang="de-DE" noProof="0" dirty="0" err="1"/>
              <a:t>pt</a:t>
            </a:r>
            <a:endParaRPr lang="de-DE" noProof="0" dirty="0"/>
          </a:p>
          <a:p>
            <a:pPr lvl="1"/>
            <a:r>
              <a:rPr lang="de-DE" noProof="0" dirty="0"/>
              <a:t>Copy, PT Sans, 16 </a:t>
            </a:r>
            <a:r>
              <a:rPr lang="de-DE" noProof="0" dirty="0" err="1"/>
              <a:t>pt</a:t>
            </a:r>
            <a:endParaRPr lang="de-DE" noProof="0" dirty="0"/>
          </a:p>
          <a:p>
            <a:pPr lvl="2"/>
            <a:r>
              <a:rPr lang="de-DE" noProof="0" dirty="0"/>
              <a:t>1. Ebene, PT Sans, 16 </a:t>
            </a:r>
            <a:r>
              <a:rPr lang="de-DE" noProof="0" dirty="0" err="1"/>
              <a:t>pt</a:t>
            </a:r>
            <a:endParaRPr lang="de-DE" noProof="0" dirty="0"/>
          </a:p>
          <a:p>
            <a:pPr lvl="3"/>
            <a:r>
              <a:rPr lang="de-DE" noProof="0" dirty="0"/>
              <a:t>2. Ebene, PT Sans, 16 </a:t>
            </a:r>
            <a:r>
              <a:rPr lang="de-DE" noProof="0" dirty="0" err="1"/>
              <a:t>pt</a:t>
            </a:r>
            <a:endParaRPr lang="de-DE" noProof="0" dirty="0"/>
          </a:p>
          <a:p>
            <a:pPr lvl="4"/>
            <a:r>
              <a:rPr lang="de-DE" noProof="0" dirty="0"/>
              <a:t>3. Ebene, PT Sans, 16 </a:t>
            </a:r>
            <a:r>
              <a:rPr lang="de-DE" noProof="0" dirty="0" err="1"/>
              <a:t>pt</a:t>
            </a:r>
            <a:endParaRPr lang="de-DE" noProof="0" dirty="0"/>
          </a:p>
          <a:p>
            <a:pPr lvl="5"/>
            <a:r>
              <a:rPr lang="de-DE" noProof="0" dirty="0"/>
              <a:t>4. Ebene, PT Sans, 16 </a:t>
            </a:r>
            <a:r>
              <a:rPr lang="de-DE" noProof="0" dirty="0" err="1"/>
              <a:t>pt</a:t>
            </a:r>
            <a:endParaRPr lang="de-DE" noProof="0" dirty="0"/>
          </a:p>
          <a:p>
            <a:pPr lvl="6"/>
            <a:r>
              <a:rPr lang="de-DE" noProof="0" dirty="0"/>
              <a:t>5. Ebene, PT Sans, 16 </a:t>
            </a:r>
            <a:r>
              <a:rPr lang="de-DE" noProof="0" dirty="0" err="1"/>
              <a:t>pt</a:t>
            </a:r>
            <a:endParaRPr lang="de-DE" noProof="0" dirty="0"/>
          </a:p>
          <a:p>
            <a:pPr lvl="7"/>
            <a:r>
              <a:rPr lang="de-DE" noProof="0" dirty="0"/>
              <a:t>6. Ebene, PT Sans, 16 </a:t>
            </a:r>
            <a:r>
              <a:rPr lang="de-DE" noProof="0" dirty="0" err="1"/>
              <a:t>pt</a:t>
            </a:r>
            <a:endParaRPr lang="de-DE" noProof="0" dirty="0"/>
          </a:p>
          <a:p>
            <a:pPr lvl="8"/>
            <a:r>
              <a:rPr lang="de-DE" noProof="0" dirty="0"/>
              <a:t>7. Ebene, PT Sans, 16 </a:t>
            </a:r>
            <a:r>
              <a:rPr lang="de-DE" noProof="0" dirty="0" err="1"/>
              <a:t>pt</a:t>
            </a:r>
            <a:endParaRPr lang="de-DE" noProof="0" dirty="0"/>
          </a:p>
        </p:txBody>
      </p:sp>
      <p:sp>
        <p:nvSpPr>
          <p:cNvPr id="10" name="Inhaltsplatzhalter 9">
            <a:extLst>
              <a:ext uri="{FF2B5EF4-FFF2-40B4-BE49-F238E27FC236}">
                <a16:creationId xmlns:a16="http://schemas.microsoft.com/office/drawing/2014/main" id="{FF21509B-0FE9-4C4B-AC06-361424CF1503}"/>
              </a:ext>
            </a:extLst>
          </p:cNvPr>
          <p:cNvSpPr>
            <a:spLocks noGrp="1"/>
          </p:cNvSpPr>
          <p:nvPr>
            <p:ph sz="quarter" idx="12" hasCustomPrompt="1"/>
          </p:nvPr>
        </p:nvSpPr>
        <p:spPr bwMode="gray">
          <a:xfrm>
            <a:off x="479425" y="1628775"/>
            <a:ext cx="7397750" cy="4464050"/>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e-DE" noProof="0" dirty="0"/>
              <a:t>Sub-Headline, PT Sans fett, 20 </a:t>
            </a:r>
            <a:r>
              <a:rPr lang="de-DE" noProof="0" dirty="0" err="1"/>
              <a:t>pt</a:t>
            </a:r>
            <a:endParaRPr lang="de-DE" noProof="0" dirty="0"/>
          </a:p>
          <a:p>
            <a:pPr lvl="1"/>
            <a:r>
              <a:rPr lang="de-DE" noProof="0" dirty="0"/>
              <a:t>Copy, PT Sans, 16 </a:t>
            </a:r>
            <a:r>
              <a:rPr lang="de-DE" noProof="0" dirty="0" err="1"/>
              <a:t>pt</a:t>
            </a:r>
            <a:endParaRPr lang="de-DE" noProof="0" dirty="0"/>
          </a:p>
          <a:p>
            <a:pPr lvl="2"/>
            <a:r>
              <a:rPr lang="de-DE" noProof="0" dirty="0"/>
              <a:t>1. Ebene, PT Sans, 16 </a:t>
            </a:r>
            <a:r>
              <a:rPr lang="de-DE" noProof="0" dirty="0" err="1"/>
              <a:t>pt</a:t>
            </a:r>
            <a:endParaRPr lang="de-DE" noProof="0" dirty="0"/>
          </a:p>
          <a:p>
            <a:pPr lvl="3"/>
            <a:r>
              <a:rPr lang="de-DE" noProof="0" dirty="0"/>
              <a:t>2. Ebene, PT Sans, 16 </a:t>
            </a:r>
            <a:r>
              <a:rPr lang="de-DE" noProof="0" dirty="0" err="1"/>
              <a:t>pt</a:t>
            </a:r>
            <a:endParaRPr lang="de-DE" noProof="0" dirty="0"/>
          </a:p>
          <a:p>
            <a:pPr lvl="4"/>
            <a:r>
              <a:rPr lang="de-DE" noProof="0" dirty="0"/>
              <a:t>3. Ebene, PT Sans, 16 </a:t>
            </a:r>
            <a:r>
              <a:rPr lang="de-DE" noProof="0" dirty="0" err="1"/>
              <a:t>pt</a:t>
            </a:r>
            <a:endParaRPr lang="de-DE" noProof="0" dirty="0"/>
          </a:p>
          <a:p>
            <a:pPr lvl="5"/>
            <a:r>
              <a:rPr lang="de-DE" noProof="0" dirty="0"/>
              <a:t>4. Ebene, PT Sans, 16 </a:t>
            </a:r>
            <a:r>
              <a:rPr lang="de-DE" noProof="0" dirty="0" err="1"/>
              <a:t>pt</a:t>
            </a:r>
            <a:endParaRPr lang="de-DE" noProof="0" dirty="0"/>
          </a:p>
          <a:p>
            <a:pPr lvl="6"/>
            <a:r>
              <a:rPr lang="de-DE" noProof="0" dirty="0"/>
              <a:t>5. Ebene, PT Sans, 16 </a:t>
            </a:r>
            <a:r>
              <a:rPr lang="de-DE" noProof="0" dirty="0" err="1"/>
              <a:t>pt</a:t>
            </a:r>
            <a:endParaRPr lang="de-DE" noProof="0" dirty="0"/>
          </a:p>
          <a:p>
            <a:pPr lvl="7"/>
            <a:r>
              <a:rPr lang="de-DE" noProof="0" dirty="0"/>
              <a:t>6. Ebene, PT Sans, 16 </a:t>
            </a:r>
            <a:r>
              <a:rPr lang="de-DE" noProof="0" dirty="0" err="1"/>
              <a:t>pt</a:t>
            </a:r>
            <a:endParaRPr lang="de-DE" noProof="0" dirty="0"/>
          </a:p>
          <a:p>
            <a:pPr lvl="8"/>
            <a:r>
              <a:rPr lang="de-DE" noProof="0" dirty="0"/>
              <a:t>7. Ebene, PT Sans, 16 </a:t>
            </a:r>
            <a:r>
              <a:rPr lang="de-DE" noProof="0" dirty="0" err="1"/>
              <a:t>pt</a:t>
            </a:r>
            <a:endParaRPr lang="de-DE" noProof="0" dirty="0"/>
          </a:p>
        </p:txBody>
      </p:sp>
      <p:sp>
        <p:nvSpPr>
          <p:cNvPr id="8" name="Textplatzhalter 2">
            <a:extLst>
              <a:ext uri="{FF2B5EF4-FFF2-40B4-BE49-F238E27FC236}">
                <a16:creationId xmlns:a16="http://schemas.microsoft.com/office/drawing/2014/main" id="{18590AFB-8534-49C9-BD32-979ADCE711F2}"/>
              </a:ext>
            </a:extLst>
          </p:cNvPr>
          <p:cNvSpPr>
            <a:spLocks noGrp="1"/>
          </p:cNvSpPr>
          <p:nvPr>
            <p:ph type="body" sz="quarter" idx="13" hasCustomPrompt="1"/>
          </p:nvPr>
        </p:nvSpPr>
        <p:spPr>
          <a:xfrm>
            <a:off x="479425" y="156260"/>
            <a:ext cx="11233150" cy="430887"/>
          </a:xfrm>
        </p:spPr>
        <p:txBody>
          <a:bodyPr anchor="b">
            <a:spAutoFit/>
          </a:bodyPr>
          <a:lstStyle>
            <a:lvl1pPr>
              <a:spcAft>
                <a:spcPts val="0"/>
              </a:spcAft>
              <a:defRPr sz="1400" b="0" i="1">
                <a:solidFill>
                  <a:schemeClr val="accent1"/>
                </a:solidFill>
              </a:defRPr>
            </a:lvl1pPr>
            <a:lvl2pPr>
              <a:defRPr sz="1400" b="0" i="1">
                <a:solidFill>
                  <a:schemeClr val="accent1"/>
                </a:solidFill>
              </a:defRPr>
            </a:lvl2pPr>
            <a:lvl3pPr>
              <a:defRPr sz="1400" b="0" i="1">
                <a:solidFill>
                  <a:schemeClr val="accent1"/>
                </a:solidFill>
              </a:defRPr>
            </a:lvl3pPr>
            <a:lvl4pPr>
              <a:defRPr sz="1400" b="0" i="1">
                <a:solidFill>
                  <a:schemeClr val="accent1"/>
                </a:solidFill>
              </a:defRPr>
            </a:lvl4pPr>
            <a:lvl5pPr>
              <a:defRPr sz="1400" b="0" i="1">
                <a:solidFill>
                  <a:schemeClr val="accent1"/>
                </a:solidFill>
              </a:defRPr>
            </a:lvl5pPr>
          </a:lstStyle>
          <a:p>
            <a:pPr lvl="0"/>
            <a:r>
              <a:rPr lang="de-DE" dirty="0" err="1"/>
              <a:t>Topline</a:t>
            </a:r>
            <a:r>
              <a:rPr lang="de-DE" dirty="0"/>
              <a:t> (z.B. Kapitel/kurze Beschreibung), PT Sans kursiv, 14 </a:t>
            </a:r>
            <a:r>
              <a:rPr lang="de-DE" dirty="0" err="1"/>
              <a:t>pt</a:t>
            </a:r>
            <a:br>
              <a:rPr lang="de-DE" dirty="0"/>
            </a:br>
            <a:r>
              <a:rPr lang="de-DE" dirty="0"/>
              <a:t>Optional: Zweizeilig</a:t>
            </a:r>
          </a:p>
        </p:txBody>
      </p:sp>
    </p:spTree>
    <p:extLst>
      <p:ext uri="{BB962C8B-B14F-4D97-AF65-F5344CB8AC3E}">
        <p14:creationId xmlns:p14="http://schemas.microsoft.com/office/powerpoint/2010/main" val="4217898305"/>
      </p:ext>
    </p:extLst>
  </p:cSld>
  <p:clrMapOvr>
    <a:masterClrMapping/>
  </p:clrMapOvr>
  <p:extLst>
    <p:ext uri="{DCECCB84-F9BA-43D5-87BE-67443E8EF086}">
      <p15:sldGuideLst xmlns:p15="http://schemas.microsoft.com/office/powerpoint/2012/main">
        <p15:guide id="3" pos="4962" userDrawn="1">
          <p15:clr>
            <a:srgbClr val="FBAE40"/>
          </p15:clr>
        </p15:guide>
        <p15:guide id="4" pos="5139"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Grafik ganze Breite">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5A788FB1-B28B-48C2-8579-968B607E540C}"/>
              </a:ext>
            </a:extLst>
          </p:cNvPr>
          <p:cNvGraphicFramePr>
            <a:graphicFrameLocks noChangeAspect="1"/>
          </p:cNvGraphicFramePr>
          <p:nvPr userDrawn="1">
            <p:custDataLst>
              <p:tags r:id="rId1"/>
            </p:custDataLst>
            <p:extLst>
              <p:ext uri="{D42A27DB-BD31-4B8C-83A1-F6EECF244321}">
                <p14:modId xmlns:p14="http://schemas.microsoft.com/office/powerpoint/2010/main" val="20828204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5" name="Objekt 4" hidden="1">
                        <a:extLst>
                          <a:ext uri="{FF2B5EF4-FFF2-40B4-BE49-F238E27FC236}">
                            <a16:creationId xmlns:a16="http://schemas.microsoft.com/office/drawing/2014/main" id="{5A788FB1-B28B-48C2-8579-968B607E540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FA4F4229-E8C8-4CBE-A19F-F2E39F8B974D}"/>
              </a:ext>
            </a:extLst>
          </p:cNvPr>
          <p:cNvSpPr>
            <a:spLocks noGrp="1"/>
          </p:cNvSpPr>
          <p:nvPr>
            <p:ph type="title" hasCustomPrompt="1"/>
          </p:nvPr>
        </p:nvSpPr>
        <p:spPr bwMode="gray">
          <a:xfrm>
            <a:off x="479425" y="739916"/>
            <a:ext cx="11233150" cy="443198"/>
          </a:xfrm>
        </p:spPr>
        <p:txBody>
          <a:bodyPr vert="horz"/>
          <a:lstStyle>
            <a:lvl1pPr rtl="0">
              <a:defRPr/>
            </a:lvl1pPr>
          </a:lstStyle>
          <a:p>
            <a:r>
              <a:rPr lang="de-DE" noProof="0" dirty="0"/>
              <a:t>Headline, PT Sans, 32 </a:t>
            </a:r>
            <a:r>
              <a:rPr lang="de-DE" noProof="0" dirty="0" err="1"/>
              <a:t>pt</a:t>
            </a:r>
            <a:endParaRPr lang="de-DE" noProof="0" dirty="0"/>
          </a:p>
        </p:txBody>
      </p:sp>
      <p:sp>
        <p:nvSpPr>
          <p:cNvPr id="10" name="Inhaltsplatzhalter 9">
            <a:extLst>
              <a:ext uri="{FF2B5EF4-FFF2-40B4-BE49-F238E27FC236}">
                <a16:creationId xmlns:a16="http://schemas.microsoft.com/office/drawing/2014/main" id="{FF21509B-0FE9-4C4B-AC06-361424CF1503}"/>
              </a:ext>
            </a:extLst>
          </p:cNvPr>
          <p:cNvSpPr>
            <a:spLocks noGrp="1"/>
          </p:cNvSpPr>
          <p:nvPr>
            <p:ph sz="quarter" idx="12" hasCustomPrompt="1"/>
          </p:nvPr>
        </p:nvSpPr>
        <p:spPr bwMode="gray">
          <a:xfrm>
            <a:off x="479425" y="1628775"/>
            <a:ext cx="11233150" cy="4464050"/>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e-DE" noProof="0" dirty="0"/>
              <a:t>Sub-Headline, PT Sans fett, 20 </a:t>
            </a:r>
            <a:r>
              <a:rPr lang="de-DE" noProof="0" dirty="0" err="1"/>
              <a:t>pt</a:t>
            </a:r>
            <a:endParaRPr lang="de-DE" noProof="0" dirty="0"/>
          </a:p>
          <a:p>
            <a:pPr lvl="1"/>
            <a:r>
              <a:rPr lang="de-DE" noProof="0" dirty="0"/>
              <a:t>Copy, PT Sans, 16 </a:t>
            </a:r>
            <a:r>
              <a:rPr lang="de-DE" noProof="0" dirty="0" err="1"/>
              <a:t>pt</a:t>
            </a:r>
            <a:endParaRPr lang="de-DE" noProof="0" dirty="0"/>
          </a:p>
          <a:p>
            <a:pPr lvl="2"/>
            <a:r>
              <a:rPr lang="de-DE" noProof="0" dirty="0"/>
              <a:t>1. Ebene, PT Sans, 16 </a:t>
            </a:r>
            <a:r>
              <a:rPr lang="de-DE" noProof="0" dirty="0" err="1"/>
              <a:t>pt</a:t>
            </a:r>
            <a:endParaRPr lang="de-DE" noProof="0" dirty="0"/>
          </a:p>
          <a:p>
            <a:pPr lvl="3"/>
            <a:r>
              <a:rPr lang="de-DE" noProof="0" dirty="0"/>
              <a:t>2. Ebene, PT Sans, 16 </a:t>
            </a:r>
            <a:r>
              <a:rPr lang="de-DE" noProof="0" dirty="0" err="1"/>
              <a:t>pt</a:t>
            </a:r>
            <a:endParaRPr lang="de-DE" noProof="0" dirty="0"/>
          </a:p>
          <a:p>
            <a:pPr lvl="4"/>
            <a:r>
              <a:rPr lang="de-DE" noProof="0" dirty="0"/>
              <a:t>3. Ebene, PT Sans, 16 </a:t>
            </a:r>
            <a:r>
              <a:rPr lang="de-DE" noProof="0" dirty="0" err="1"/>
              <a:t>pt</a:t>
            </a:r>
            <a:endParaRPr lang="de-DE" noProof="0" dirty="0"/>
          </a:p>
          <a:p>
            <a:pPr lvl="5"/>
            <a:r>
              <a:rPr lang="de-DE" noProof="0" dirty="0"/>
              <a:t>4. Ebene, PT Sans, 16 </a:t>
            </a:r>
            <a:r>
              <a:rPr lang="de-DE" noProof="0" dirty="0" err="1"/>
              <a:t>pt</a:t>
            </a:r>
            <a:endParaRPr lang="de-DE" noProof="0" dirty="0"/>
          </a:p>
          <a:p>
            <a:pPr lvl="6"/>
            <a:r>
              <a:rPr lang="de-DE" noProof="0" dirty="0"/>
              <a:t>5. Ebene, PT Sans, 16 </a:t>
            </a:r>
            <a:r>
              <a:rPr lang="de-DE" noProof="0" dirty="0" err="1"/>
              <a:t>pt</a:t>
            </a:r>
            <a:endParaRPr lang="de-DE" noProof="0" dirty="0"/>
          </a:p>
          <a:p>
            <a:pPr lvl="7"/>
            <a:r>
              <a:rPr lang="de-DE" noProof="0" dirty="0"/>
              <a:t>6. Ebene, PT Sans, 16 </a:t>
            </a:r>
            <a:r>
              <a:rPr lang="de-DE" noProof="0" dirty="0" err="1"/>
              <a:t>pt</a:t>
            </a:r>
            <a:endParaRPr lang="de-DE" noProof="0" dirty="0"/>
          </a:p>
          <a:p>
            <a:pPr lvl="8"/>
            <a:r>
              <a:rPr lang="de-DE" noProof="0" dirty="0"/>
              <a:t>7. Ebene, PT Sans, 16 </a:t>
            </a:r>
            <a:r>
              <a:rPr lang="de-DE" noProof="0" dirty="0" err="1"/>
              <a:t>pt</a:t>
            </a:r>
            <a:endParaRPr lang="de-DE" noProof="0" dirty="0"/>
          </a:p>
        </p:txBody>
      </p:sp>
      <p:sp>
        <p:nvSpPr>
          <p:cNvPr id="6" name="Textplatzhalter 2">
            <a:extLst>
              <a:ext uri="{FF2B5EF4-FFF2-40B4-BE49-F238E27FC236}">
                <a16:creationId xmlns:a16="http://schemas.microsoft.com/office/drawing/2014/main" id="{4ED2F4F4-79E8-4D58-B999-0AB453F3A6BD}"/>
              </a:ext>
            </a:extLst>
          </p:cNvPr>
          <p:cNvSpPr>
            <a:spLocks noGrp="1"/>
          </p:cNvSpPr>
          <p:nvPr>
            <p:ph type="body" sz="quarter" idx="13" hasCustomPrompt="1"/>
          </p:nvPr>
        </p:nvSpPr>
        <p:spPr>
          <a:xfrm>
            <a:off x="479425" y="156260"/>
            <a:ext cx="11233150" cy="430887"/>
          </a:xfrm>
        </p:spPr>
        <p:txBody>
          <a:bodyPr anchor="b">
            <a:spAutoFit/>
          </a:bodyPr>
          <a:lstStyle>
            <a:lvl1pPr>
              <a:spcAft>
                <a:spcPts val="0"/>
              </a:spcAft>
              <a:defRPr sz="1400" b="0" i="1">
                <a:solidFill>
                  <a:schemeClr val="accent1"/>
                </a:solidFill>
              </a:defRPr>
            </a:lvl1pPr>
            <a:lvl2pPr>
              <a:defRPr sz="1400" b="0" i="1">
                <a:solidFill>
                  <a:schemeClr val="accent1"/>
                </a:solidFill>
              </a:defRPr>
            </a:lvl2pPr>
            <a:lvl3pPr>
              <a:defRPr sz="1400" b="0" i="1">
                <a:solidFill>
                  <a:schemeClr val="accent1"/>
                </a:solidFill>
              </a:defRPr>
            </a:lvl3pPr>
            <a:lvl4pPr>
              <a:defRPr sz="1400" b="0" i="1">
                <a:solidFill>
                  <a:schemeClr val="accent1"/>
                </a:solidFill>
              </a:defRPr>
            </a:lvl4pPr>
            <a:lvl5pPr>
              <a:defRPr sz="1400" b="0" i="1">
                <a:solidFill>
                  <a:schemeClr val="accent1"/>
                </a:solidFill>
              </a:defRPr>
            </a:lvl5pPr>
          </a:lstStyle>
          <a:p>
            <a:pPr lvl="0"/>
            <a:r>
              <a:rPr lang="de-DE" dirty="0" err="1"/>
              <a:t>Topline</a:t>
            </a:r>
            <a:r>
              <a:rPr lang="de-DE" dirty="0"/>
              <a:t> (z.B. Kapitel/kurze Beschreibung), PT Sans kursiv, 14 </a:t>
            </a:r>
            <a:r>
              <a:rPr lang="de-DE" dirty="0" err="1"/>
              <a:t>pt</a:t>
            </a:r>
            <a:br>
              <a:rPr lang="de-DE" dirty="0"/>
            </a:br>
            <a:r>
              <a:rPr lang="de-DE" dirty="0"/>
              <a:t>Optional: Zweizeilig</a:t>
            </a:r>
          </a:p>
        </p:txBody>
      </p:sp>
    </p:spTree>
    <p:extLst>
      <p:ext uri="{BB962C8B-B14F-4D97-AF65-F5344CB8AC3E}">
        <p14:creationId xmlns:p14="http://schemas.microsoft.com/office/powerpoint/2010/main" val="2851000270"/>
      </p:ext>
    </p:extLst>
  </p:cSld>
  <p:clrMapOvr>
    <a:masterClrMapping/>
  </p:clrMapOvr>
  <p:extLst>
    <p:ext uri="{DCECCB84-F9BA-43D5-87BE-67443E8EF086}">
      <p15:sldGuideLst xmlns:p15="http://schemas.microsoft.com/office/powerpoint/2012/main"/>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2.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9336D8BB-6610-4C02-AECC-7FD574E81EFD}"/>
              </a:ext>
            </a:extLst>
          </p:cNvPr>
          <p:cNvGraphicFramePr>
            <a:graphicFrameLocks noChangeAspect="1"/>
          </p:cNvGraphicFramePr>
          <p:nvPr userDrawn="1">
            <p:custDataLst>
              <p:tags r:id="rId26"/>
            </p:custDataLst>
            <p:extLst>
              <p:ext uri="{D42A27DB-BD31-4B8C-83A1-F6EECF244321}">
                <p14:modId xmlns:p14="http://schemas.microsoft.com/office/powerpoint/2010/main" val="11335616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27" imgW="306" imgH="306" progId="TCLayout.ActiveDocument.1">
                  <p:embed/>
                </p:oleObj>
              </mc:Choice>
              <mc:Fallback>
                <p:oleObj name="think-cell Folie" r:id="rId27" imgW="306" imgH="306" progId="TCLayout.ActiveDocument.1">
                  <p:embed/>
                  <p:pic>
                    <p:nvPicPr>
                      <p:cNvPr id="5" name="Objekt 4" hidden="1">
                        <a:extLst>
                          <a:ext uri="{FF2B5EF4-FFF2-40B4-BE49-F238E27FC236}">
                            <a16:creationId xmlns:a16="http://schemas.microsoft.com/office/drawing/2014/main" id="{9336D8BB-6610-4C02-AECC-7FD574E81EFD}"/>
                          </a:ext>
                        </a:extLst>
                      </p:cNvPr>
                      <p:cNvPicPr/>
                      <p:nvPr/>
                    </p:nvPicPr>
                    <p:blipFill>
                      <a:blip r:embed="rId28"/>
                      <a:stretch>
                        <a:fillRect/>
                      </a:stretch>
                    </p:blipFill>
                    <p:spPr>
                      <a:xfrm>
                        <a:off x="1588" y="1588"/>
                        <a:ext cx="1588" cy="1588"/>
                      </a:xfrm>
                      <a:prstGeom prst="rect">
                        <a:avLst/>
                      </a:prstGeom>
                    </p:spPr>
                  </p:pic>
                </p:oleObj>
              </mc:Fallback>
            </mc:AlternateContent>
          </a:graphicData>
        </a:graphic>
      </p:graphicFrame>
      <p:sp>
        <p:nvSpPr>
          <p:cNvPr id="2" name="Titelplatzhalter 1">
            <a:extLst>
              <a:ext uri="{FF2B5EF4-FFF2-40B4-BE49-F238E27FC236}">
                <a16:creationId xmlns:a16="http://schemas.microsoft.com/office/drawing/2014/main" id="{48137288-D4DD-47A0-A5A2-9B21E0843F0B}"/>
              </a:ext>
            </a:extLst>
          </p:cNvPr>
          <p:cNvSpPr>
            <a:spLocks noGrp="1"/>
          </p:cNvSpPr>
          <p:nvPr>
            <p:ph type="title"/>
          </p:nvPr>
        </p:nvSpPr>
        <p:spPr bwMode="gray">
          <a:xfrm>
            <a:off x="479425" y="739916"/>
            <a:ext cx="11233150" cy="443198"/>
          </a:xfrm>
          <a:prstGeom prst="rect">
            <a:avLst/>
          </a:prstGeom>
        </p:spPr>
        <p:txBody>
          <a:bodyPr vert="horz" lIns="0" tIns="0" rIns="0" bIns="0" rtlCol="0" anchor="t" anchorCtr="0">
            <a:noAutofit/>
          </a:bodyPr>
          <a:lstStyle/>
          <a:p>
            <a:r>
              <a:rPr lang="de-DE" noProof="0" dirty="0"/>
              <a:t>Headline, PT Sans, 32 </a:t>
            </a:r>
            <a:r>
              <a:rPr lang="de-DE" noProof="0" dirty="0" err="1"/>
              <a:t>pt</a:t>
            </a:r>
            <a:endParaRPr lang="de-DE" noProof="0" dirty="0"/>
          </a:p>
        </p:txBody>
      </p:sp>
      <p:sp>
        <p:nvSpPr>
          <p:cNvPr id="3" name="Textplatzhalter 2">
            <a:extLst>
              <a:ext uri="{FF2B5EF4-FFF2-40B4-BE49-F238E27FC236}">
                <a16:creationId xmlns:a16="http://schemas.microsoft.com/office/drawing/2014/main" id="{2A8DB32B-83D1-4D46-9114-9A1546EDEC8B}"/>
              </a:ext>
            </a:extLst>
          </p:cNvPr>
          <p:cNvSpPr>
            <a:spLocks noGrp="1"/>
          </p:cNvSpPr>
          <p:nvPr>
            <p:ph type="body" idx="1"/>
          </p:nvPr>
        </p:nvSpPr>
        <p:spPr bwMode="gray">
          <a:xfrm>
            <a:off x="479425" y="1628775"/>
            <a:ext cx="11233150" cy="4464050"/>
          </a:xfrm>
          <a:prstGeom prst="rect">
            <a:avLst/>
          </a:prstGeom>
        </p:spPr>
        <p:txBody>
          <a:bodyPr vert="horz" lIns="0" tIns="0" rIns="0" bIns="0" rtlCol="0" anchor="t" anchorCtr="0">
            <a:noAutofit/>
          </a:bodyPr>
          <a:lstStyle/>
          <a:p>
            <a:pPr lvl="0"/>
            <a:r>
              <a:rPr lang="de-DE" noProof="0" dirty="0"/>
              <a:t>Sub-Headline, PT Sans fett, 20 </a:t>
            </a:r>
            <a:r>
              <a:rPr lang="de-DE" noProof="0" dirty="0" err="1"/>
              <a:t>pt</a:t>
            </a:r>
            <a:endParaRPr lang="de-DE" noProof="0" dirty="0"/>
          </a:p>
          <a:p>
            <a:pPr lvl="1"/>
            <a:r>
              <a:rPr lang="de-DE" noProof="0" dirty="0"/>
              <a:t>Copy, PT Sans, 16 </a:t>
            </a:r>
            <a:r>
              <a:rPr lang="de-DE" noProof="0" dirty="0" err="1"/>
              <a:t>pt</a:t>
            </a:r>
            <a:endParaRPr lang="de-DE" noProof="0" dirty="0"/>
          </a:p>
          <a:p>
            <a:pPr lvl="2"/>
            <a:r>
              <a:rPr lang="de-DE" noProof="0" dirty="0"/>
              <a:t>1. Ebene, PT Sans, 16 </a:t>
            </a:r>
            <a:r>
              <a:rPr lang="de-DE" noProof="0" dirty="0" err="1"/>
              <a:t>pt</a:t>
            </a:r>
            <a:endParaRPr lang="de-DE" noProof="0" dirty="0"/>
          </a:p>
          <a:p>
            <a:pPr lvl="3"/>
            <a:r>
              <a:rPr lang="de-DE" noProof="0" dirty="0"/>
              <a:t>2. Ebene, PT Sans, 16 </a:t>
            </a:r>
            <a:r>
              <a:rPr lang="de-DE" noProof="0" dirty="0" err="1"/>
              <a:t>pt</a:t>
            </a:r>
            <a:endParaRPr lang="de-DE" noProof="0" dirty="0"/>
          </a:p>
          <a:p>
            <a:pPr lvl="4"/>
            <a:r>
              <a:rPr lang="de-DE" noProof="0" dirty="0"/>
              <a:t>3. Ebene, PT Sans, 16 </a:t>
            </a:r>
            <a:r>
              <a:rPr lang="de-DE" noProof="0" dirty="0" err="1"/>
              <a:t>pt</a:t>
            </a:r>
            <a:endParaRPr lang="de-DE" noProof="0" dirty="0"/>
          </a:p>
          <a:p>
            <a:pPr lvl="5"/>
            <a:r>
              <a:rPr lang="de-DE" noProof="0" dirty="0"/>
              <a:t>4. Ebene, PT Sans, 16 </a:t>
            </a:r>
            <a:r>
              <a:rPr lang="de-DE" noProof="0" dirty="0" err="1"/>
              <a:t>pt</a:t>
            </a:r>
            <a:endParaRPr lang="de-DE" noProof="0" dirty="0"/>
          </a:p>
          <a:p>
            <a:pPr lvl="6"/>
            <a:r>
              <a:rPr lang="de-DE" noProof="0" dirty="0"/>
              <a:t>5. Ebene, PT Sans, 16 </a:t>
            </a:r>
            <a:r>
              <a:rPr lang="de-DE" noProof="0" dirty="0" err="1"/>
              <a:t>pt</a:t>
            </a:r>
            <a:endParaRPr lang="de-DE" noProof="0" dirty="0"/>
          </a:p>
          <a:p>
            <a:pPr lvl="7"/>
            <a:r>
              <a:rPr lang="de-DE" noProof="0" dirty="0"/>
              <a:t>6. Ebene, PT Sans, 16 </a:t>
            </a:r>
            <a:r>
              <a:rPr lang="de-DE" noProof="0" dirty="0" err="1"/>
              <a:t>pt</a:t>
            </a:r>
            <a:endParaRPr lang="de-DE" noProof="0" dirty="0"/>
          </a:p>
          <a:p>
            <a:pPr lvl="8"/>
            <a:r>
              <a:rPr lang="de-DE" noProof="0" dirty="0"/>
              <a:t>7. Ebene, PT Sans, 16 </a:t>
            </a:r>
            <a:r>
              <a:rPr lang="de-DE" noProof="0" dirty="0" err="1"/>
              <a:t>pt</a:t>
            </a:r>
            <a:endParaRPr lang="de-DE" noProof="0" dirty="0"/>
          </a:p>
        </p:txBody>
      </p:sp>
      <p:cxnSp>
        <p:nvCxnSpPr>
          <p:cNvPr id="7" name="Gerader Verbinder 6">
            <a:extLst>
              <a:ext uri="{FF2B5EF4-FFF2-40B4-BE49-F238E27FC236}">
                <a16:creationId xmlns:a16="http://schemas.microsoft.com/office/drawing/2014/main" id="{FE75EBC2-3978-4F7E-B8CE-2B0C536A964E}"/>
              </a:ext>
            </a:extLst>
          </p:cNvPr>
          <p:cNvCxnSpPr>
            <a:cxnSpLocks/>
          </p:cNvCxnSpPr>
          <p:nvPr userDrawn="1"/>
        </p:nvCxnSpPr>
        <p:spPr bwMode="gray">
          <a:xfrm>
            <a:off x="479425" y="651016"/>
            <a:ext cx="11233150" cy="0"/>
          </a:xfrm>
          <a:prstGeom prst="line">
            <a:avLst/>
          </a:prstGeom>
          <a:noFill/>
          <a:ln w="6350" cap="flat">
            <a:solidFill>
              <a:srgbClr val="2F4D72"/>
            </a:solidFill>
            <a:prstDash val="solid"/>
            <a:miter/>
          </a:ln>
        </p:spPr>
      </p:cxnSp>
      <p:sp>
        <p:nvSpPr>
          <p:cNvPr id="8" name="Textfeld 7">
            <a:extLst>
              <a:ext uri="{FF2B5EF4-FFF2-40B4-BE49-F238E27FC236}">
                <a16:creationId xmlns:a16="http://schemas.microsoft.com/office/drawing/2014/main" id="{D3806088-DA19-440A-84FC-46E3F2E238FC}"/>
              </a:ext>
            </a:extLst>
          </p:cNvPr>
          <p:cNvSpPr txBox="1"/>
          <p:nvPr userDrawn="1"/>
        </p:nvSpPr>
        <p:spPr bwMode="gray">
          <a:xfrm>
            <a:off x="479425" y="6418362"/>
            <a:ext cx="1705595" cy="153888"/>
          </a:xfrm>
          <a:prstGeom prst="rect">
            <a:avLst/>
          </a:prstGeom>
        </p:spPr>
        <p:txBody>
          <a:bodyPr wrap="none" lIns="0" tIns="0" rIns="0" bIns="0" anchor="ctr">
            <a:spAutoFit/>
          </a:bodyPr>
          <a:lstStyle>
            <a:defPPr>
              <a:defRPr lang="de-DE"/>
            </a:defPPr>
            <a:lvl1pPr>
              <a:spcBef>
                <a:spcPct val="0"/>
              </a:spcBef>
              <a:spcAft>
                <a:spcPts val="300"/>
              </a:spcAft>
              <a:defRPr sz="1000">
                <a:solidFill>
                  <a:srgbClr val="2F4D72"/>
                </a:solidFill>
                <a:latin typeface="PT Sans" panose="020B0503020203020204" pitchFamily="34" charset="0"/>
                <a:ea typeface="Roboto" panose="02000000000000000000" pitchFamily="2" charset="0"/>
                <a:cs typeface="Arial" panose="020B0604020202020204" pitchFamily="34" charset="-128"/>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lvl="0" rtl="0"/>
            <a:r>
              <a:rPr lang="de-DE" noProof="0" dirty="0"/>
              <a:t>Fonds Finanz. Mein Maklerpool</a:t>
            </a:r>
          </a:p>
        </p:txBody>
      </p:sp>
      <p:sp>
        <p:nvSpPr>
          <p:cNvPr id="9" name="Textfeld 8">
            <a:extLst>
              <a:ext uri="{FF2B5EF4-FFF2-40B4-BE49-F238E27FC236}">
                <a16:creationId xmlns:a16="http://schemas.microsoft.com/office/drawing/2014/main" id="{34B55C68-02BC-4E32-9769-089A978EA39B}"/>
              </a:ext>
            </a:extLst>
          </p:cNvPr>
          <p:cNvSpPr txBox="1"/>
          <p:nvPr userDrawn="1"/>
        </p:nvSpPr>
        <p:spPr bwMode="gray">
          <a:xfrm>
            <a:off x="11252200" y="6418362"/>
            <a:ext cx="460375" cy="153888"/>
          </a:xfrm>
          <a:prstGeom prst="rect">
            <a:avLst/>
          </a:prstGeom>
        </p:spPr>
        <p:txBody>
          <a:bodyPr wrap="square" lIns="0" tIns="0" rIns="0" bIns="0" anchor="ctr">
            <a:spAutoFit/>
          </a:bodyPr>
          <a:lstStyle>
            <a:defPPr>
              <a:defRPr lang="de-DE"/>
            </a:defPPr>
            <a:lvl1pPr>
              <a:spcBef>
                <a:spcPct val="0"/>
              </a:spcBef>
              <a:spcAft>
                <a:spcPts val="300"/>
              </a:spcAft>
              <a:defRPr sz="1000">
                <a:solidFill>
                  <a:srgbClr val="2F4D72"/>
                </a:solidFill>
                <a:latin typeface="PT Sans" panose="020B0503020203020204" pitchFamily="34" charset="0"/>
                <a:ea typeface="Roboto" panose="02000000000000000000" pitchFamily="2" charset="0"/>
                <a:cs typeface="Arial" panose="020B0604020202020204" pitchFamily="34" charset="-128"/>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lvl="0" algn="r" rtl="0"/>
            <a:fld id="{9CABAB34-EED9-4944-9833-2D0472E7C8C0}" type="slidenum">
              <a:rPr lang="de-DE" noProof="0" smtClean="0"/>
              <a:pPr lvl="0" algn="r" rtl="0"/>
              <a:t>‹Nr.›</a:t>
            </a:fld>
            <a:endParaRPr lang="de-DE" noProof="0" dirty="0"/>
          </a:p>
        </p:txBody>
      </p:sp>
    </p:spTree>
    <p:extLst>
      <p:ext uri="{BB962C8B-B14F-4D97-AF65-F5344CB8AC3E}">
        <p14:creationId xmlns:p14="http://schemas.microsoft.com/office/powerpoint/2010/main" val="376528603"/>
      </p:ext>
    </p:extLst>
  </p:cSld>
  <p:clrMap bg1="lt1" tx1="dk1" bg2="lt2" tx2="dk2" accent1="accent1" accent2="accent2" accent3="accent3" accent4="accent4" accent5="accent5" accent6="accent6" hlink="hlink" folHlink="folHlink"/>
  <p:sldLayoutIdLst>
    <p:sldLayoutId id="2147483649" r:id="rId1"/>
    <p:sldLayoutId id="2147483670" r:id="rId2"/>
    <p:sldLayoutId id="2147483650" r:id="rId3"/>
    <p:sldLayoutId id="2147483669" r:id="rId4"/>
    <p:sldLayoutId id="2147483654" r:id="rId5"/>
    <p:sldLayoutId id="2147483653" r:id="rId6"/>
    <p:sldLayoutId id="2147483652" r:id="rId7"/>
    <p:sldLayoutId id="2147483655" r:id="rId8"/>
    <p:sldLayoutId id="2147483656" r:id="rId9"/>
    <p:sldLayoutId id="2147483651" r:id="rId10"/>
    <p:sldLayoutId id="2147483657" r:id="rId11"/>
    <p:sldLayoutId id="2147483659" r:id="rId12"/>
    <p:sldLayoutId id="2147483658" r:id="rId13"/>
    <p:sldLayoutId id="2147483660" r:id="rId14"/>
    <p:sldLayoutId id="2147483661" r:id="rId15"/>
    <p:sldLayoutId id="2147483662" r:id="rId16"/>
    <p:sldLayoutId id="2147483663" r:id="rId17"/>
    <p:sldLayoutId id="2147483664" r:id="rId18"/>
    <p:sldLayoutId id="2147483668" r:id="rId19"/>
    <p:sldLayoutId id="2147483665" r:id="rId20"/>
    <p:sldLayoutId id="2147483673" r:id="rId21"/>
    <p:sldLayoutId id="2147483674" r:id="rId22"/>
    <p:sldLayoutId id="2147483666" r:id="rId23"/>
    <p:sldLayoutId id="2147483672" r:id="rId24"/>
  </p:sldLayoutIdLst>
  <p:txStyles>
    <p:titleStyle>
      <a:lvl1pPr algn="l" defTabSz="914400" rtl="0" eaLnBrk="1" latinLnBrk="0" hangingPunct="1">
        <a:lnSpc>
          <a:spcPct val="90000"/>
        </a:lnSpc>
        <a:spcBef>
          <a:spcPct val="0"/>
        </a:spcBef>
        <a:spcAft>
          <a:spcPts val="300"/>
        </a:spcAft>
        <a:buNone/>
        <a:defRPr sz="3200" kern="1200">
          <a:solidFill>
            <a:schemeClr val="tx1"/>
          </a:solidFill>
          <a:latin typeface="+mj-lt"/>
          <a:ea typeface="+mj-ea"/>
          <a:cs typeface="+mj-cs"/>
        </a:defRPr>
      </a:lvl1pPr>
    </p:titleStyle>
    <p:bodyStyle>
      <a:lvl1pPr marL="0" indent="0" algn="l" defTabSz="914400" rtl="0" eaLnBrk="1" latinLnBrk="0" hangingPunct="1">
        <a:lnSpc>
          <a:spcPct val="100000"/>
        </a:lnSpc>
        <a:spcBef>
          <a:spcPts val="0"/>
        </a:spcBef>
        <a:spcAft>
          <a:spcPts val="1200"/>
        </a:spcAft>
        <a:buFont typeface="Arial" panose="020B0604020202020204" pitchFamily="34" charset="0"/>
        <a:buNone/>
        <a:defRPr sz="2000" b="1" kern="1200">
          <a:solidFill>
            <a:schemeClr val="tx2"/>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2"/>
          </a:solidFill>
          <a:latin typeface="+mn-lt"/>
          <a:ea typeface="+mn-ea"/>
          <a:cs typeface="+mn-cs"/>
        </a:defRPr>
      </a:lvl2pPr>
      <a:lvl3pPr marL="180000" indent="-180000" algn="l" defTabSz="914400" rtl="0" eaLnBrk="1" latinLnBrk="0" hangingPunct="1">
        <a:lnSpc>
          <a:spcPct val="100000"/>
        </a:lnSpc>
        <a:spcBef>
          <a:spcPts val="0"/>
        </a:spcBef>
        <a:spcAft>
          <a:spcPts val="600"/>
        </a:spcAft>
        <a:buClr>
          <a:schemeClr val="tx1"/>
        </a:buClr>
        <a:buFont typeface="Wingdings" panose="05000000000000000000" pitchFamily="2" charset="2"/>
        <a:buChar char="§"/>
        <a:defRPr sz="1600" kern="1200">
          <a:solidFill>
            <a:schemeClr val="tx2"/>
          </a:solidFill>
          <a:latin typeface="+mn-lt"/>
          <a:ea typeface="+mn-ea"/>
          <a:cs typeface="+mn-cs"/>
        </a:defRPr>
      </a:lvl3pPr>
      <a:lvl4pPr marL="360000" indent="-180000" algn="l" defTabSz="914400" rtl="0" eaLnBrk="1" latinLnBrk="0" hangingPunct="1">
        <a:lnSpc>
          <a:spcPct val="100000"/>
        </a:lnSpc>
        <a:spcBef>
          <a:spcPts val="0"/>
        </a:spcBef>
        <a:spcAft>
          <a:spcPts val="600"/>
        </a:spcAft>
        <a:buClr>
          <a:schemeClr val="tx1"/>
        </a:buClr>
        <a:buFont typeface="Wingdings" panose="05000000000000000000" pitchFamily="2" charset="2"/>
        <a:buChar char="§"/>
        <a:defRPr sz="1600" kern="1200">
          <a:solidFill>
            <a:schemeClr val="tx2"/>
          </a:solidFill>
          <a:latin typeface="+mn-lt"/>
          <a:ea typeface="+mn-ea"/>
          <a:cs typeface="+mn-cs"/>
        </a:defRPr>
      </a:lvl4pPr>
      <a:lvl5pPr marL="540000" indent="-180000" algn="l" defTabSz="914400" rtl="0" eaLnBrk="1" latinLnBrk="0" hangingPunct="1">
        <a:lnSpc>
          <a:spcPct val="100000"/>
        </a:lnSpc>
        <a:spcBef>
          <a:spcPts val="0"/>
        </a:spcBef>
        <a:spcAft>
          <a:spcPts val="600"/>
        </a:spcAft>
        <a:buClr>
          <a:schemeClr val="tx1"/>
        </a:buClr>
        <a:buFont typeface="Wingdings" panose="05000000000000000000" pitchFamily="2" charset="2"/>
        <a:buChar char="§"/>
        <a:defRPr sz="1600" kern="1200">
          <a:solidFill>
            <a:schemeClr val="tx2"/>
          </a:solidFill>
          <a:latin typeface="+mn-lt"/>
          <a:ea typeface="+mn-ea"/>
          <a:cs typeface="+mn-cs"/>
        </a:defRPr>
      </a:lvl5pPr>
      <a:lvl6pPr marL="720000" indent="-180000" algn="l" defTabSz="914400" rtl="0" eaLnBrk="1" latinLnBrk="0" hangingPunct="1">
        <a:lnSpc>
          <a:spcPct val="100000"/>
        </a:lnSpc>
        <a:spcBef>
          <a:spcPts val="0"/>
        </a:spcBef>
        <a:spcAft>
          <a:spcPts val="600"/>
        </a:spcAft>
        <a:buClr>
          <a:schemeClr val="accent3"/>
        </a:buClr>
        <a:buFont typeface="Wingdings" panose="05000000000000000000" pitchFamily="2" charset="2"/>
        <a:buChar char="§"/>
        <a:defRPr sz="1600" kern="1200">
          <a:solidFill>
            <a:schemeClr val="tx2"/>
          </a:solidFill>
          <a:latin typeface="+mn-lt"/>
          <a:ea typeface="+mn-ea"/>
          <a:cs typeface="+mn-cs"/>
        </a:defRPr>
      </a:lvl6pPr>
      <a:lvl7pPr marL="900000" indent="-180000" algn="l" defTabSz="914400" rtl="0" eaLnBrk="1" latinLnBrk="0" hangingPunct="1">
        <a:lnSpc>
          <a:spcPct val="100000"/>
        </a:lnSpc>
        <a:spcBef>
          <a:spcPts val="0"/>
        </a:spcBef>
        <a:spcAft>
          <a:spcPts val="600"/>
        </a:spcAft>
        <a:buClr>
          <a:schemeClr val="accent3"/>
        </a:buClr>
        <a:buFont typeface="Wingdings" panose="05000000000000000000" pitchFamily="2" charset="2"/>
        <a:buChar char="§"/>
        <a:defRPr sz="1600" kern="1200">
          <a:solidFill>
            <a:schemeClr val="tx2"/>
          </a:solidFill>
          <a:latin typeface="+mn-lt"/>
          <a:ea typeface="+mn-ea"/>
          <a:cs typeface="+mn-cs"/>
        </a:defRPr>
      </a:lvl7pPr>
      <a:lvl8pPr marL="1080000" indent="-180000" algn="l" defTabSz="914400" rtl="0" eaLnBrk="1" latinLnBrk="0" hangingPunct="1">
        <a:lnSpc>
          <a:spcPct val="100000"/>
        </a:lnSpc>
        <a:spcBef>
          <a:spcPts val="0"/>
        </a:spcBef>
        <a:spcAft>
          <a:spcPts val="600"/>
        </a:spcAft>
        <a:buClr>
          <a:schemeClr val="accent3"/>
        </a:buClr>
        <a:buFont typeface="Wingdings" panose="05000000000000000000" pitchFamily="2" charset="2"/>
        <a:buChar char="§"/>
        <a:defRPr sz="1600" kern="1200">
          <a:solidFill>
            <a:schemeClr val="tx2"/>
          </a:solidFill>
          <a:latin typeface="+mn-lt"/>
          <a:ea typeface="+mn-ea"/>
          <a:cs typeface="+mn-cs"/>
        </a:defRPr>
      </a:lvl8pPr>
      <a:lvl9pPr marL="1260000" indent="-180000" algn="l" defTabSz="914400" rtl="0" eaLnBrk="1" latinLnBrk="0" hangingPunct="1">
        <a:lnSpc>
          <a:spcPct val="100000"/>
        </a:lnSpc>
        <a:spcBef>
          <a:spcPts val="0"/>
        </a:spcBef>
        <a:spcAft>
          <a:spcPts val="600"/>
        </a:spcAft>
        <a:buClr>
          <a:schemeClr val="accent3"/>
        </a:buClr>
        <a:buFont typeface="Wingdings" panose="05000000000000000000" pitchFamily="2" charset="2"/>
        <a:buChar char="§"/>
        <a:defRPr sz="1600" kern="1200">
          <a:solidFill>
            <a:schemeClr val="tx2"/>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59" userDrawn="1">
          <p15:clr>
            <a:srgbClr val="FBAE40"/>
          </p15:clr>
        </p15:guide>
        <p15:guide id="2" orient="horz" pos="1026" userDrawn="1">
          <p15:clr>
            <a:srgbClr val="FBAE40"/>
          </p15:clr>
        </p15:guide>
        <p15:guide id="4" pos="302" userDrawn="1">
          <p15:clr>
            <a:srgbClr val="FBAE40"/>
          </p15:clr>
        </p15:guide>
        <p15:guide id="5" pos="7378" userDrawn="1">
          <p15:clr>
            <a:srgbClr val="FBAE40"/>
          </p15:clr>
        </p15:guide>
        <p15:guide id="6" orient="horz" pos="3997" userDrawn="1">
          <p15:clr>
            <a:srgbClr val="FBAE40"/>
          </p15:clr>
        </p15:guide>
        <p15:guide id="7" orient="horz" pos="4140" userDrawn="1">
          <p15:clr>
            <a:srgbClr val="FBAE40"/>
          </p15:clr>
        </p15:guide>
        <p15:guide id="8" orient="horz" pos="754" userDrawn="1">
          <p15:clr>
            <a:srgbClr val="FBAE40"/>
          </p15:clr>
        </p15:guide>
        <p15:guide id="9" orient="horz" pos="3838" userDrawn="1">
          <p15:clr>
            <a:srgbClr val="FBAE40"/>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Layout" Target="../slideLayouts/slideLayout1.xml"/><Relationship Id="rId1" Type="http://schemas.openxmlformats.org/officeDocument/2006/relationships/tags" Target="../tags/tag26.xml"/><Relationship Id="rId5" Type="http://schemas.openxmlformats.org/officeDocument/2006/relationships/image" Target="../media/image2.jpg"/><Relationship Id="rId4" Type="http://schemas.openxmlformats.org/officeDocument/2006/relationships/image" Target="../media/image1.emf"/></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32.bin"/><Relationship Id="rId2" Type="http://schemas.openxmlformats.org/officeDocument/2006/relationships/slideLayout" Target="../slideLayouts/slideLayout3.xml"/><Relationship Id="rId1" Type="http://schemas.openxmlformats.org/officeDocument/2006/relationships/tags" Target="../tags/tag33.xml"/><Relationship Id="rId6" Type="http://schemas.openxmlformats.org/officeDocument/2006/relationships/image" Target="../media/image14.png"/><Relationship Id="rId5" Type="http://schemas.openxmlformats.org/officeDocument/2006/relationships/image" Target="../media/image13.png"/><Relationship Id="rId4" Type="http://schemas.openxmlformats.org/officeDocument/2006/relationships/image" Target="../media/image1.emf"/></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33.bin"/><Relationship Id="rId2" Type="http://schemas.openxmlformats.org/officeDocument/2006/relationships/slideLayout" Target="../slideLayouts/slideLayout3.xml"/><Relationship Id="rId1" Type="http://schemas.openxmlformats.org/officeDocument/2006/relationships/tags" Target="../tags/tag34.xml"/><Relationship Id="rId5" Type="http://schemas.openxmlformats.org/officeDocument/2006/relationships/image" Target="../media/image15.png"/><Relationship Id="rId4" Type="http://schemas.openxmlformats.org/officeDocument/2006/relationships/image" Target="../media/image1.emf"/></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34.bin"/><Relationship Id="rId2" Type="http://schemas.openxmlformats.org/officeDocument/2006/relationships/slideLayout" Target="../slideLayouts/slideLayout3.xml"/><Relationship Id="rId1" Type="http://schemas.openxmlformats.org/officeDocument/2006/relationships/tags" Target="../tags/tag35.xml"/><Relationship Id="rId5" Type="http://schemas.openxmlformats.org/officeDocument/2006/relationships/image" Target="../media/image16.png"/><Relationship Id="rId4" Type="http://schemas.openxmlformats.org/officeDocument/2006/relationships/image" Target="../media/image1.emf"/></Relationships>
</file>

<file path=ppt/slides/_rels/slide13.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oleObject" Target="../embeddings/oleObject35.bin"/><Relationship Id="rId7" Type="http://schemas.openxmlformats.org/officeDocument/2006/relationships/image" Target="../media/image19.png"/><Relationship Id="rId2" Type="http://schemas.openxmlformats.org/officeDocument/2006/relationships/slideLayout" Target="../slideLayouts/slideLayout3.xml"/><Relationship Id="rId1" Type="http://schemas.openxmlformats.org/officeDocument/2006/relationships/tags" Target="../tags/tag36.xml"/><Relationship Id="rId6" Type="http://schemas.openxmlformats.org/officeDocument/2006/relationships/image" Target="../media/image18.png"/><Relationship Id="rId5" Type="http://schemas.openxmlformats.org/officeDocument/2006/relationships/image" Target="../media/image17.png"/><Relationship Id="rId10" Type="http://schemas.openxmlformats.org/officeDocument/2006/relationships/image" Target="../media/image22.png"/><Relationship Id="rId4" Type="http://schemas.openxmlformats.org/officeDocument/2006/relationships/image" Target="../media/image1.emf"/><Relationship Id="rId9" Type="http://schemas.openxmlformats.org/officeDocument/2006/relationships/image" Target="../media/image21.png"/></Relationships>
</file>

<file path=ppt/slides/_rels/slide14.xml.rels><?xml version="1.0" encoding="UTF-8" standalone="yes"?>
<Relationships xmlns="http://schemas.openxmlformats.org/package/2006/relationships"><Relationship Id="rId2" Type="http://schemas.openxmlformats.org/officeDocument/2006/relationships/image" Target="../media/image23.jpg"/><Relationship Id="rId1" Type="http://schemas.openxmlformats.org/officeDocument/2006/relationships/slideLayout" Target="../slideLayouts/slideLayout17.xml"/></Relationships>
</file>

<file path=ppt/slides/_rels/slide15.xml.rels><?xml version="1.0" encoding="UTF-8" standalone="yes"?>
<Relationships xmlns="http://schemas.openxmlformats.org/package/2006/relationships"><Relationship Id="rId3" Type="http://schemas.openxmlformats.org/officeDocument/2006/relationships/oleObject" Target="../embeddings/oleObject36.bin"/><Relationship Id="rId2" Type="http://schemas.openxmlformats.org/officeDocument/2006/relationships/slideLayout" Target="../slideLayouts/slideLayout14.xml"/><Relationship Id="rId1" Type="http://schemas.openxmlformats.org/officeDocument/2006/relationships/tags" Target="../tags/tag37.xml"/><Relationship Id="rId5" Type="http://schemas.openxmlformats.org/officeDocument/2006/relationships/image" Target="../media/image24.jpg"/><Relationship Id="rId4" Type="http://schemas.openxmlformats.org/officeDocument/2006/relationships/image" Target="../media/image1.emf"/></Relationships>
</file>

<file path=ppt/slides/_rels/slide16.xml.rels><?xml version="1.0" encoding="UTF-8" standalone="yes"?>
<Relationships xmlns="http://schemas.openxmlformats.org/package/2006/relationships"><Relationship Id="rId2" Type="http://schemas.openxmlformats.org/officeDocument/2006/relationships/image" Target="../media/image25.jpg"/><Relationship Id="rId1" Type="http://schemas.openxmlformats.org/officeDocument/2006/relationships/slideLayout" Target="../slideLayouts/slideLayout17.xml"/></Relationships>
</file>

<file path=ppt/slides/_rels/slide17.xml.rels><?xml version="1.0" encoding="UTF-8" standalone="yes"?>
<Relationships xmlns="http://schemas.openxmlformats.org/package/2006/relationships"><Relationship Id="rId3" Type="http://schemas.openxmlformats.org/officeDocument/2006/relationships/oleObject" Target="../embeddings/oleObject37.bin"/><Relationship Id="rId2" Type="http://schemas.openxmlformats.org/officeDocument/2006/relationships/slideLayout" Target="../slideLayouts/slideLayout3.xml"/><Relationship Id="rId1" Type="http://schemas.openxmlformats.org/officeDocument/2006/relationships/tags" Target="../tags/tag38.xml"/><Relationship Id="rId4" Type="http://schemas.openxmlformats.org/officeDocument/2006/relationships/image" Target="../media/image1.emf"/></Relationships>
</file>

<file path=ppt/slides/_rels/slide18.xml.rels><?xml version="1.0" encoding="UTF-8" standalone="yes"?>
<Relationships xmlns="http://schemas.openxmlformats.org/package/2006/relationships"><Relationship Id="rId3" Type="http://schemas.openxmlformats.org/officeDocument/2006/relationships/oleObject" Target="../embeddings/oleObject38.bin"/><Relationship Id="rId2" Type="http://schemas.openxmlformats.org/officeDocument/2006/relationships/slideLayout" Target="../slideLayouts/slideLayout23.xml"/><Relationship Id="rId1" Type="http://schemas.openxmlformats.org/officeDocument/2006/relationships/tags" Target="../tags/tag39.xml"/><Relationship Id="rId5" Type="http://schemas.openxmlformats.org/officeDocument/2006/relationships/image" Target="../media/image26.jpg"/><Relationship Id="rId4" Type="http://schemas.openxmlformats.org/officeDocument/2006/relationships/image" Target="../media/image1.emf"/></Relationships>
</file>

<file path=ppt/slides/_rels/slide2.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Layout" Target="../slideLayouts/slideLayout17.xml"/></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Layout" Target="../slideLayouts/slideLayout3.xml"/><Relationship Id="rId1" Type="http://schemas.openxmlformats.org/officeDocument/2006/relationships/tags" Target="../tags/tag27.xml"/><Relationship Id="rId4" Type="http://schemas.openxmlformats.org/officeDocument/2006/relationships/image" Target="../media/image1.emf"/></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3.xml"/><Relationship Id="rId1" Type="http://schemas.openxmlformats.org/officeDocument/2006/relationships/tags" Target="../tags/tag28.xml"/><Relationship Id="rId6" Type="http://schemas.openxmlformats.org/officeDocument/2006/relationships/image" Target="../media/image5.png"/><Relationship Id="rId5" Type="http://schemas.openxmlformats.org/officeDocument/2006/relationships/image" Target="../media/image4.png"/><Relationship Id="rId4" Type="http://schemas.openxmlformats.org/officeDocument/2006/relationships/image" Target="../media/image1.emf"/></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3.xml"/><Relationship Id="rId1" Type="http://schemas.openxmlformats.org/officeDocument/2006/relationships/tags" Target="../tags/tag29.xml"/><Relationship Id="rId6" Type="http://schemas.openxmlformats.org/officeDocument/2006/relationships/image" Target="../media/image7.png"/><Relationship Id="rId5" Type="http://schemas.openxmlformats.org/officeDocument/2006/relationships/image" Target="../media/image6.png"/><Relationship Id="rId4" Type="http://schemas.openxmlformats.org/officeDocument/2006/relationships/image" Target="../media/image1.emf"/></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Layout" Target="../slideLayouts/slideLayout3.xml"/><Relationship Id="rId1" Type="http://schemas.openxmlformats.org/officeDocument/2006/relationships/tags" Target="../tags/tag30.xml"/><Relationship Id="rId6" Type="http://schemas.openxmlformats.org/officeDocument/2006/relationships/image" Target="../media/image9.png"/><Relationship Id="rId5" Type="http://schemas.openxmlformats.org/officeDocument/2006/relationships/image" Target="../media/image8.png"/><Relationship Id="rId4" Type="http://schemas.openxmlformats.org/officeDocument/2006/relationships/image" Target="../media/image1.emf"/></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Layout" Target="../slideLayouts/slideLayout3.xml"/><Relationship Id="rId1" Type="http://schemas.openxmlformats.org/officeDocument/2006/relationships/tags" Target="../tags/tag31.xml"/><Relationship Id="rId6" Type="http://schemas.openxmlformats.org/officeDocument/2006/relationships/image" Target="../media/image10.png"/><Relationship Id="rId5" Type="http://schemas.openxmlformats.org/officeDocument/2006/relationships/image" Target="../media/image8.png"/><Relationship Id="rId4" Type="http://schemas.openxmlformats.org/officeDocument/2006/relationships/image" Target="../media/image1.emf"/></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Layout" Target="../slideLayouts/slideLayout3.xml"/><Relationship Id="rId1" Type="http://schemas.openxmlformats.org/officeDocument/2006/relationships/tags" Target="../tags/tag32.xml"/><Relationship Id="rId5" Type="http://schemas.openxmlformats.org/officeDocument/2006/relationships/image" Target="../media/image11.png"/><Relationship Id="rId4" Type="http://schemas.openxmlformats.org/officeDocument/2006/relationships/image" Target="../media/image1.emf"/></Relationships>
</file>

<file path=ppt/slides/_rels/slide9.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Layout" Target="../slideLayouts/slideLayout1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E511C94C-D050-4303-BD01-EB350D9CF355}"/>
              </a:ext>
            </a:extLst>
          </p:cNvPr>
          <p:cNvGraphicFramePr>
            <a:graphicFrameLocks noChangeAspect="1"/>
          </p:cNvGraphicFramePr>
          <p:nvPr>
            <p:custDataLst>
              <p:tags r:id="rId1"/>
            </p:custDataLst>
            <p:extLst>
              <p:ext uri="{D42A27DB-BD31-4B8C-83A1-F6EECF244321}">
                <p14:modId xmlns:p14="http://schemas.microsoft.com/office/powerpoint/2010/main" val="23533894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3" name="Objekt 2" hidden="1">
                        <a:extLst>
                          <a:ext uri="{FF2B5EF4-FFF2-40B4-BE49-F238E27FC236}">
                            <a16:creationId xmlns:a16="http://schemas.microsoft.com/office/drawing/2014/main" id="{E511C94C-D050-4303-BD01-EB350D9CF35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el 4">
            <a:extLst>
              <a:ext uri="{FF2B5EF4-FFF2-40B4-BE49-F238E27FC236}">
                <a16:creationId xmlns:a16="http://schemas.microsoft.com/office/drawing/2014/main" id="{CC24C50A-6133-4997-BD17-338D41E40979}"/>
              </a:ext>
            </a:extLst>
          </p:cNvPr>
          <p:cNvSpPr>
            <a:spLocks noGrp="1"/>
          </p:cNvSpPr>
          <p:nvPr>
            <p:ph type="ctrTitle"/>
          </p:nvPr>
        </p:nvSpPr>
        <p:spPr>
          <a:xfrm>
            <a:off x="745185" y="3805389"/>
            <a:ext cx="5094302" cy="993092"/>
          </a:xfrm>
        </p:spPr>
        <p:txBody>
          <a:bodyPr vert="horz">
            <a:normAutofit/>
          </a:bodyPr>
          <a:lstStyle/>
          <a:p>
            <a:r>
              <a:rPr lang="de-DE" dirty="0"/>
              <a:t>Bedarf von Freiberuflern</a:t>
            </a:r>
          </a:p>
        </p:txBody>
      </p:sp>
      <p:sp>
        <p:nvSpPr>
          <p:cNvPr id="6" name="Untertitel 5">
            <a:extLst>
              <a:ext uri="{FF2B5EF4-FFF2-40B4-BE49-F238E27FC236}">
                <a16:creationId xmlns:a16="http://schemas.microsoft.com/office/drawing/2014/main" id="{73A397DA-5884-49B1-AE71-81733D306727}"/>
              </a:ext>
            </a:extLst>
          </p:cNvPr>
          <p:cNvSpPr>
            <a:spLocks noGrp="1"/>
          </p:cNvSpPr>
          <p:nvPr>
            <p:ph type="subTitle" idx="1"/>
          </p:nvPr>
        </p:nvSpPr>
        <p:spPr>
          <a:xfrm>
            <a:off x="745183" y="4841551"/>
            <a:ext cx="5094301" cy="615553"/>
          </a:xfrm>
        </p:spPr>
        <p:txBody>
          <a:bodyPr/>
          <a:lstStyle/>
          <a:p>
            <a:r>
              <a:rPr lang="de-DE" dirty="0"/>
              <a:t>Nimm, was du brauchst und vergiss den Rest!</a:t>
            </a:r>
          </a:p>
        </p:txBody>
      </p:sp>
      <p:sp>
        <p:nvSpPr>
          <p:cNvPr id="7" name="Textplatzhalter 6">
            <a:extLst>
              <a:ext uri="{FF2B5EF4-FFF2-40B4-BE49-F238E27FC236}">
                <a16:creationId xmlns:a16="http://schemas.microsoft.com/office/drawing/2014/main" id="{2E2DEADD-F6D0-477C-A197-A83F865C028B}"/>
              </a:ext>
            </a:extLst>
          </p:cNvPr>
          <p:cNvSpPr>
            <a:spLocks noGrp="1"/>
          </p:cNvSpPr>
          <p:nvPr>
            <p:ph type="body" sz="quarter" idx="13"/>
          </p:nvPr>
        </p:nvSpPr>
        <p:spPr>
          <a:xfrm>
            <a:off x="745184" y="5851632"/>
            <a:ext cx="3320978" cy="369332"/>
          </a:xfrm>
        </p:spPr>
        <p:txBody>
          <a:bodyPr/>
          <a:lstStyle/>
          <a:p>
            <a:r>
              <a:rPr lang="de-DE" dirty="0"/>
              <a:t>Philip Wenzel| Vertriebsspezialist BU</a:t>
            </a:r>
          </a:p>
        </p:txBody>
      </p:sp>
      <p:pic>
        <p:nvPicPr>
          <p:cNvPr id="9" name="Bildplatzhalter 8">
            <a:extLst>
              <a:ext uri="{FF2B5EF4-FFF2-40B4-BE49-F238E27FC236}">
                <a16:creationId xmlns:a16="http://schemas.microsoft.com/office/drawing/2014/main" id="{4BD08E32-BCC4-49DB-B535-F17C26ADD710}"/>
              </a:ext>
            </a:extLst>
          </p:cNvPr>
          <p:cNvPicPr>
            <a:picLocks noGrp="1" noChangeAspect="1"/>
          </p:cNvPicPr>
          <p:nvPr>
            <p:ph type="pic" sz="quarter" idx="14"/>
          </p:nvPr>
        </p:nvPicPr>
        <p:blipFill>
          <a:blip r:embed="rId5"/>
          <a:srcRect t="1" b="1"/>
          <a:stretch>
            <a:fillRect/>
          </a:stretch>
        </p:blipFill>
        <p:spPr/>
      </p:pic>
    </p:spTree>
    <p:extLst>
      <p:ext uri="{BB962C8B-B14F-4D97-AF65-F5344CB8AC3E}">
        <p14:creationId xmlns:p14="http://schemas.microsoft.com/office/powerpoint/2010/main" val="8490987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EAC8EA1E-6D47-4E01-8E0A-B5440CE42C0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5" name="Objekt 4" hidden="1">
                        <a:extLst>
                          <a:ext uri="{FF2B5EF4-FFF2-40B4-BE49-F238E27FC236}">
                            <a16:creationId xmlns:a16="http://schemas.microsoft.com/office/drawing/2014/main" id="{EAC8EA1E-6D47-4E01-8E0A-B5440CE42C0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4249AB66-CBBB-43EF-9ADD-D056233717BF}"/>
              </a:ext>
            </a:extLst>
          </p:cNvPr>
          <p:cNvSpPr>
            <a:spLocks noGrp="1"/>
          </p:cNvSpPr>
          <p:nvPr>
            <p:ph type="title"/>
          </p:nvPr>
        </p:nvSpPr>
        <p:spPr>
          <a:xfrm>
            <a:off x="479425" y="739916"/>
            <a:ext cx="11233150" cy="443198"/>
          </a:xfrm>
        </p:spPr>
        <p:txBody>
          <a:bodyPr vert="horz"/>
          <a:lstStyle/>
          <a:p>
            <a:r>
              <a:rPr lang="de-DE" dirty="0"/>
              <a:t>Umorganisation ist nicht gleich Umorganisation…</a:t>
            </a:r>
          </a:p>
        </p:txBody>
      </p:sp>
      <p:sp>
        <p:nvSpPr>
          <p:cNvPr id="3" name="Textplatzhalter 10">
            <a:extLst>
              <a:ext uri="{FF2B5EF4-FFF2-40B4-BE49-F238E27FC236}">
                <a16:creationId xmlns:a16="http://schemas.microsoft.com/office/drawing/2014/main" id="{DF4EFF8A-432F-EE7B-9094-9DB92A4FC2EF}"/>
              </a:ext>
            </a:extLst>
          </p:cNvPr>
          <p:cNvSpPr txBox="1">
            <a:spLocks/>
          </p:cNvSpPr>
          <p:nvPr/>
        </p:nvSpPr>
        <p:spPr>
          <a:xfrm>
            <a:off x="479425" y="1732912"/>
            <a:ext cx="8496000" cy="982800"/>
          </a:xfrm>
          <a:prstGeom prst="rect">
            <a:avLst/>
          </a:prstGeom>
        </p:spPr>
        <p:txBody>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2000" b="1" kern="1200">
                <a:solidFill>
                  <a:schemeClr val="tx2"/>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2"/>
                </a:solidFill>
                <a:latin typeface="+mn-lt"/>
                <a:ea typeface="+mn-ea"/>
                <a:cs typeface="+mn-cs"/>
              </a:defRPr>
            </a:lvl2pPr>
            <a:lvl3pPr marL="180000" indent="-180000" algn="l" defTabSz="914400" rtl="0" eaLnBrk="1" latinLnBrk="0" hangingPunct="1">
              <a:lnSpc>
                <a:spcPct val="100000"/>
              </a:lnSpc>
              <a:spcBef>
                <a:spcPts val="0"/>
              </a:spcBef>
              <a:spcAft>
                <a:spcPts val="600"/>
              </a:spcAft>
              <a:buClr>
                <a:schemeClr val="tx1"/>
              </a:buClr>
              <a:buFont typeface="Wingdings" panose="05000000000000000000" pitchFamily="2" charset="2"/>
              <a:buChar char="§"/>
              <a:defRPr sz="1600" kern="1200">
                <a:solidFill>
                  <a:schemeClr val="tx2"/>
                </a:solidFill>
                <a:latin typeface="+mn-lt"/>
                <a:ea typeface="+mn-ea"/>
                <a:cs typeface="+mn-cs"/>
              </a:defRPr>
            </a:lvl3pPr>
            <a:lvl4pPr marL="360000" indent="-180000" algn="l" defTabSz="914400" rtl="0" eaLnBrk="1" latinLnBrk="0" hangingPunct="1">
              <a:lnSpc>
                <a:spcPct val="100000"/>
              </a:lnSpc>
              <a:spcBef>
                <a:spcPts val="0"/>
              </a:spcBef>
              <a:spcAft>
                <a:spcPts val="600"/>
              </a:spcAft>
              <a:buClr>
                <a:schemeClr val="tx1"/>
              </a:buClr>
              <a:buFont typeface="Wingdings" panose="05000000000000000000" pitchFamily="2" charset="2"/>
              <a:buChar char="§"/>
              <a:defRPr sz="1600" kern="1200">
                <a:solidFill>
                  <a:schemeClr val="tx2"/>
                </a:solidFill>
                <a:latin typeface="+mn-lt"/>
                <a:ea typeface="+mn-ea"/>
                <a:cs typeface="+mn-cs"/>
              </a:defRPr>
            </a:lvl4pPr>
            <a:lvl5pPr marL="540000" indent="-180000" algn="l" defTabSz="914400" rtl="0" eaLnBrk="1" latinLnBrk="0" hangingPunct="1">
              <a:lnSpc>
                <a:spcPct val="100000"/>
              </a:lnSpc>
              <a:spcBef>
                <a:spcPts val="0"/>
              </a:spcBef>
              <a:spcAft>
                <a:spcPts val="600"/>
              </a:spcAft>
              <a:buClr>
                <a:schemeClr val="tx1"/>
              </a:buClr>
              <a:buFont typeface="Wingdings" panose="05000000000000000000" pitchFamily="2" charset="2"/>
              <a:buChar char="§"/>
              <a:defRPr sz="1600" kern="1200">
                <a:solidFill>
                  <a:schemeClr val="tx2"/>
                </a:solidFill>
                <a:latin typeface="+mn-lt"/>
                <a:ea typeface="+mn-ea"/>
                <a:cs typeface="+mn-cs"/>
              </a:defRPr>
            </a:lvl5pPr>
            <a:lvl6pPr marL="720000" indent="-180000" algn="l" defTabSz="914400" rtl="0" eaLnBrk="1" latinLnBrk="0" hangingPunct="1">
              <a:lnSpc>
                <a:spcPct val="100000"/>
              </a:lnSpc>
              <a:spcBef>
                <a:spcPts val="0"/>
              </a:spcBef>
              <a:spcAft>
                <a:spcPts val="600"/>
              </a:spcAft>
              <a:buClr>
                <a:schemeClr val="accent3"/>
              </a:buClr>
              <a:buFont typeface="Wingdings" panose="05000000000000000000" pitchFamily="2" charset="2"/>
              <a:buChar char="§"/>
              <a:defRPr sz="1600" kern="1200">
                <a:solidFill>
                  <a:schemeClr val="tx2"/>
                </a:solidFill>
                <a:latin typeface="+mn-lt"/>
                <a:ea typeface="+mn-ea"/>
                <a:cs typeface="+mn-cs"/>
              </a:defRPr>
            </a:lvl6pPr>
            <a:lvl7pPr marL="900000" indent="-180000" algn="l" defTabSz="914400" rtl="0" eaLnBrk="1" latinLnBrk="0" hangingPunct="1">
              <a:lnSpc>
                <a:spcPct val="100000"/>
              </a:lnSpc>
              <a:spcBef>
                <a:spcPts val="0"/>
              </a:spcBef>
              <a:spcAft>
                <a:spcPts val="600"/>
              </a:spcAft>
              <a:buClr>
                <a:schemeClr val="accent3"/>
              </a:buClr>
              <a:buFont typeface="Wingdings" panose="05000000000000000000" pitchFamily="2" charset="2"/>
              <a:buChar char="§"/>
              <a:defRPr sz="1600" kern="1200">
                <a:solidFill>
                  <a:schemeClr val="tx2"/>
                </a:solidFill>
                <a:latin typeface="+mn-lt"/>
                <a:ea typeface="+mn-ea"/>
                <a:cs typeface="+mn-cs"/>
              </a:defRPr>
            </a:lvl7pPr>
            <a:lvl8pPr marL="1080000" indent="-180000" algn="l" defTabSz="914400" rtl="0" eaLnBrk="1" latinLnBrk="0" hangingPunct="1">
              <a:lnSpc>
                <a:spcPct val="100000"/>
              </a:lnSpc>
              <a:spcBef>
                <a:spcPts val="0"/>
              </a:spcBef>
              <a:spcAft>
                <a:spcPts val="600"/>
              </a:spcAft>
              <a:buClr>
                <a:schemeClr val="accent3"/>
              </a:buClr>
              <a:buFont typeface="Wingdings" panose="05000000000000000000" pitchFamily="2" charset="2"/>
              <a:buChar char="§"/>
              <a:defRPr sz="1600" kern="1200">
                <a:solidFill>
                  <a:schemeClr val="tx2"/>
                </a:solidFill>
                <a:latin typeface="+mn-lt"/>
                <a:ea typeface="+mn-ea"/>
                <a:cs typeface="+mn-cs"/>
              </a:defRPr>
            </a:lvl8pPr>
            <a:lvl9pPr marL="1260000" indent="-180000" algn="l" defTabSz="914400" rtl="0" eaLnBrk="1" latinLnBrk="0" hangingPunct="1">
              <a:lnSpc>
                <a:spcPct val="100000"/>
              </a:lnSpc>
              <a:spcBef>
                <a:spcPts val="0"/>
              </a:spcBef>
              <a:spcAft>
                <a:spcPts val="600"/>
              </a:spcAft>
              <a:buClr>
                <a:schemeClr val="accent3"/>
              </a:buClr>
              <a:buFont typeface="Wingdings" panose="05000000000000000000" pitchFamily="2" charset="2"/>
              <a:buChar char="§"/>
              <a:defRPr sz="1600" kern="1200">
                <a:solidFill>
                  <a:schemeClr val="tx2"/>
                </a:solidFill>
                <a:latin typeface="+mn-lt"/>
                <a:ea typeface="+mn-ea"/>
                <a:cs typeface="+mn-cs"/>
              </a:defRPr>
            </a:lvl9pPr>
          </a:lstStyle>
          <a:p>
            <a:endParaRPr lang="de-DE" sz="1600" dirty="0"/>
          </a:p>
        </p:txBody>
      </p:sp>
      <p:sp>
        <p:nvSpPr>
          <p:cNvPr id="6" name="Textplatzhalter 5">
            <a:extLst>
              <a:ext uri="{FF2B5EF4-FFF2-40B4-BE49-F238E27FC236}">
                <a16:creationId xmlns:a16="http://schemas.microsoft.com/office/drawing/2014/main" id="{D92FBF1F-0791-ECBB-5B14-DA9F7BCC4081}"/>
              </a:ext>
            </a:extLst>
          </p:cNvPr>
          <p:cNvSpPr>
            <a:spLocks noGrp="1"/>
          </p:cNvSpPr>
          <p:nvPr>
            <p:ph type="body" sz="quarter" idx="12"/>
          </p:nvPr>
        </p:nvSpPr>
        <p:spPr>
          <a:xfrm>
            <a:off x="479425" y="371703"/>
            <a:ext cx="11233150" cy="215444"/>
          </a:xfrm>
        </p:spPr>
        <p:txBody>
          <a:bodyPr/>
          <a:lstStyle/>
          <a:p>
            <a:r>
              <a:rPr lang="de-DE" dirty="0"/>
              <a:t>Worauf kommt es an?</a:t>
            </a:r>
          </a:p>
        </p:txBody>
      </p:sp>
      <p:pic>
        <p:nvPicPr>
          <p:cNvPr id="4" name="Grafik 3">
            <a:extLst>
              <a:ext uri="{FF2B5EF4-FFF2-40B4-BE49-F238E27FC236}">
                <a16:creationId xmlns:a16="http://schemas.microsoft.com/office/drawing/2014/main" id="{F975BA0C-D93A-9CEC-49B4-9410C8923A80}"/>
              </a:ext>
            </a:extLst>
          </p:cNvPr>
          <p:cNvPicPr>
            <a:picLocks noChangeAspect="1"/>
          </p:cNvPicPr>
          <p:nvPr/>
        </p:nvPicPr>
        <p:blipFill>
          <a:blip r:embed="rId5"/>
          <a:stretch>
            <a:fillRect/>
          </a:stretch>
        </p:blipFill>
        <p:spPr>
          <a:xfrm>
            <a:off x="0" y="1572309"/>
            <a:ext cx="12192000" cy="1304006"/>
          </a:xfrm>
          <a:prstGeom prst="rect">
            <a:avLst/>
          </a:prstGeom>
        </p:spPr>
      </p:pic>
      <p:pic>
        <p:nvPicPr>
          <p:cNvPr id="7" name="Grafik 6">
            <a:extLst>
              <a:ext uri="{FF2B5EF4-FFF2-40B4-BE49-F238E27FC236}">
                <a16:creationId xmlns:a16="http://schemas.microsoft.com/office/drawing/2014/main" id="{944EA8C0-6768-5628-7904-120D81335AD5}"/>
              </a:ext>
            </a:extLst>
          </p:cNvPr>
          <p:cNvPicPr>
            <a:picLocks noChangeAspect="1"/>
          </p:cNvPicPr>
          <p:nvPr/>
        </p:nvPicPr>
        <p:blipFill>
          <a:blip r:embed="rId6"/>
          <a:stretch>
            <a:fillRect/>
          </a:stretch>
        </p:blipFill>
        <p:spPr>
          <a:xfrm>
            <a:off x="3142838" y="3200094"/>
            <a:ext cx="5906324" cy="1867161"/>
          </a:xfrm>
          <a:prstGeom prst="rect">
            <a:avLst/>
          </a:prstGeom>
        </p:spPr>
      </p:pic>
    </p:spTree>
    <p:extLst>
      <p:ext uri="{BB962C8B-B14F-4D97-AF65-F5344CB8AC3E}">
        <p14:creationId xmlns:p14="http://schemas.microsoft.com/office/powerpoint/2010/main" val="307111997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nodePh="1">
                                  <p:stCondLst>
                                    <p:cond delay="0"/>
                                  </p:stCondLst>
                                  <p:endCondLst>
                                    <p:cond evt="begin" delay="0">
                                      <p:tn val="5"/>
                                    </p:cond>
                                  </p:end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EAC8EA1E-6D47-4E01-8E0A-B5440CE42C0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5" name="Objekt 4" hidden="1">
                        <a:extLst>
                          <a:ext uri="{FF2B5EF4-FFF2-40B4-BE49-F238E27FC236}">
                            <a16:creationId xmlns:a16="http://schemas.microsoft.com/office/drawing/2014/main" id="{EAC8EA1E-6D47-4E01-8E0A-B5440CE42C0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4249AB66-CBBB-43EF-9ADD-D056233717BF}"/>
              </a:ext>
            </a:extLst>
          </p:cNvPr>
          <p:cNvSpPr>
            <a:spLocks noGrp="1"/>
          </p:cNvSpPr>
          <p:nvPr>
            <p:ph type="title"/>
          </p:nvPr>
        </p:nvSpPr>
        <p:spPr>
          <a:xfrm>
            <a:off x="479425" y="739916"/>
            <a:ext cx="11233150" cy="443198"/>
          </a:xfrm>
        </p:spPr>
        <p:txBody>
          <a:bodyPr vert="horz"/>
          <a:lstStyle/>
          <a:p>
            <a:r>
              <a:rPr lang="de-DE" dirty="0"/>
              <a:t>Umorganisation ist nicht gleich Umorganisation…</a:t>
            </a:r>
          </a:p>
        </p:txBody>
      </p:sp>
      <p:sp>
        <p:nvSpPr>
          <p:cNvPr id="3" name="Textplatzhalter 10">
            <a:extLst>
              <a:ext uri="{FF2B5EF4-FFF2-40B4-BE49-F238E27FC236}">
                <a16:creationId xmlns:a16="http://schemas.microsoft.com/office/drawing/2014/main" id="{DF4EFF8A-432F-EE7B-9094-9DB92A4FC2EF}"/>
              </a:ext>
            </a:extLst>
          </p:cNvPr>
          <p:cNvSpPr txBox="1">
            <a:spLocks/>
          </p:cNvSpPr>
          <p:nvPr/>
        </p:nvSpPr>
        <p:spPr>
          <a:xfrm>
            <a:off x="479425" y="1732912"/>
            <a:ext cx="8496000" cy="982800"/>
          </a:xfrm>
          <a:prstGeom prst="rect">
            <a:avLst/>
          </a:prstGeom>
        </p:spPr>
        <p:txBody>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2000" b="1" kern="1200">
                <a:solidFill>
                  <a:schemeClr val="tx2"/>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2"/>
                </a:solidFill>
                <a:latin typeface="+mn-lt"/>
                <a:ea typeface="+mn-ea"/>
                <a:cs typeface="+mn-cs"/>
              </a:defRPr>
            </a:lvl2pPr>
            <a:lvl3pPr marL="180000" indent="-180000" algn="l" defTabSz="914400" rtl="0" eaLnBrk="1" latinLnBrk="0" hangingPunct="1">
              <a:lnSpc>
                <a:spcPct val="100000"/>
              </a:lnSpc>
              <a:spcBef>
                <a:spcPts val="0"/>
              </a:spcBef>
              <a:spcAft>
                <a:spcPts val="600"/>
              </a:spcAft>
              <a:buClr>
                <a:schemeClr val="tx1"/>
              </a:buClr>
              <a:buFont typeface="Wingdings" panose="05000000000000000000" pitchFamily="2" charset="2"/>
              <a:buChar char="§"/>
              <a:defRPr sz="1600" kern="1200">
                <a:solidFill>
                  <a:schemeClr val="tx2"/>
                </a:solidFill>
                <a:latin typeface="+mn-lt"/>
                <a:ea typeface="+mn-ea"/>
                <a:cs typeface="+mn-cs"/>
              </a:defRPr>
            </a:lvl3pPr>
            <a:lvl4pPr marL="360000" indent="-180000" algn="l" defTabSz="914400" rtl="0" eaLnBrk="1" latinLnBrk="0" hangingPunct="1">
              <a:lnSpc>
                <a:spcPct val="100000"/>
              </a:lnSpc>
              <a:spcBef>
                <a:spcPts val="0"/>
              </a:spcBef>
              <a:spcAft>
                <a:spcPts val="600"/>
              </a:spcAft>
              <a:buClr>
                <a:schemeClr val="tx1"/>
              </a:buClr>
              <a:buFont typeface="Wingdings" panose="05000000000000000000" pitchFamily="2" charset="2"/>
              <a:buChar char="§"/>
              <a:defRPr sz="1600" kern="1200">
                <a:solidFill>
                  <a:schemeClr val="tx2"/>
                </a:solidFill>
                <a:latin typeface="+mn-lt"/>
                <a:ea typeface="+mn-ea"/>
                <a:cs typeface="+mn-cs"/>
              </a:defRPr>
            </a:lvl4pPr>
            <a:lvl5pPr marL="540000" indent="-180000" algn="l" defTabSz="914400" rtl="0" eaLnBrk="1" latinLnBrk="0" hangingPunct="1">
              <a:lnSpc>
                <a:spcPct val="100000"/>
              </a:lnSpc>
              <a:spcBef>
                <a:spcPts val="0"/>
              </a:spcBef>
              <a:spcAft>
                <a:spcPts val="600"/>
              </a:spcAft>
              <a:buClr>
                <a:schemeClr val="tx1"/>
              </a:buClr>
              <a:buFont typeface="Wingdings" panose="05000000000000000000" pitchFamily="2" charset="2"/>
              <a:buChar char="§"/>
              <a:defRPr sz="1600" kern="1200">
                <a:solidFill>
                  <a:schemeClr val="tx2"/>
                </a:solidFill>
                <a:latin typeface="+mn-lt"/>
                <a:ea typeface="+mn-ea"/>
                <a:cs typeface="+mn-cs"/>
              </a:defRPr>
            </a:lvl5pPr>
            <a:lvl6pPr marL="720000" indent="-180000" algn="l" defTabSz="914400" rtl="0" eaLnBrk="1" latinLnBrk="0" hangingPunct="1">
              <a:lnSpc>
                <a:spcPct val="100000"/>
              </a:lnSpc>
              <a:spcBef>
                <a:spcPts val="0"/>
              </a:spcBef>
              <a:spcAft>
                <a:spcPts val="600"/>
              </a:spcAft>
              <a:buClr>
                <a:schemeClr val="accent3"/>
              </a:buClr>
              <a:buFont typeface="Wingdings" panose="05000000000000000000" pitchFamily="2" charset="2"/>
              <a:buChar char="§"/>
              <a:defRPr sz="1600" kern="1200">
                <a:solidFill>
                  <a:schemeClr val="tx2"/>
                </a:solidFill>
                <a:latin typeface="+mn-lt"/>
                <a:ea typeface="+mn-ea"/>
                <a:cs typeface="+mn-cs"/>
              </a:defRPr>
            </a:lvl6pPr>
            <a:lvl7pPr marL="900000" indent="-180000" algn="l" defTabSz="914400" rtl="0" eaLnBrk="1" latinLnBrk="0" hangingPunct="1">
              <a:lnSpc>
                <a:spcPct val="100000"/>
              </a:lnSpc>
              <a:spcBef>
                <a:spcPts val="0"/>
              </a:spcBef>
              <a:spcAft>
                <a:spcPts val="600"/>
              </a:spcAft>
              <a:buClr>
                <a:schemeClr val="accent3"/>
              </a:buClr>
              <a:buFont typeface="Wingdings" panose="05000000000000000000" pitchFamily="2" charset="2"/>
              <a:buChar char="§"/>
              <a:defRPr sz="1600" kern="1200">
                <a:solidFill>
                  <a:schemeClr val="tx2"/>
                </a:solidFill>
                <a:latin typeface="+mn-lt"/>
                <a:ea typeface="+mn-ea"/>
                <a:cs typeface="+mn-cs"/>
              </a:defRPr>
            </a:lvl7pPr>
            <a:lvl8pPr marL="1080000" indent="-180000" algn="l" defTabSz="914400" rtl="0" eaLnBrk="1" latinLnBrk="0" hangingPunct="1">
              <a:lnSpc>
                <a:spcPct val="100000"/>
              </a:lnSpc>
              <a:spcBef>
                <a:spcPts val="0"/>
              </a:spcBef>
              <a:spcAft>
                <a:spcPts val="600"/>
              </a:spcAft>
              <a:buClr>
                <a:schemeClr val="accent3"/>
              </a:buClr>
              <a:buFont typeface="Wingdings" panose="05000000000000000000" pitchFamily="2" charset="2"/>
              <a:buChar char="§"/>
              <a:defRPr sz="1600" kern="1200">
                <a:solidFill>
                  <a:schemeClr val="tx2"/>
                </a:solidFill>
                <a:latin typeface="+mn-lt"/>
                <a:ea typeface="+mn-ea"/>
                <a:cs typeface="+mn-cs"/>
              </a:defRPr>
            </a:lvl8pPr>
            <a:lvl9pPr marL="1260000" indent="-180000" algn="l" defTabSz="914400" rtl="0" eaLnBrk="1" latinLnBrk="0" hangingPunct="1">
              <a:lnSpc>
                <a:spcPct val="100000"/>
              </a:lnSpc>
              <a:spcBef>
                <a:spcPts val="0"/>
              </a:spcBef>
              <a:spcAft>
                <a:spcPts val="600"/>
              </a:spcAft>
              <a:buClr>
                <a:schemeClr val="accent3"/>
              </a:buClr>
              <a:buFont typeface="Wingdings" panose="05000000000000000000" pitchFamily="2" charset="2"/>
              <a:buChar char="§"/>
              <a:defRPr sz="1600" kern="1200">
                <a:solidFill>
                  <a:schemeClr val="tx2"/>
                </a:solidFill>
                <a:latin typeface="+mn-lt"/>
                <a:ea typeface="+mn-ea"/>
                <a:cs typeface="+mn-cs"/>
              </a:defRPr>
            </a:lvl9pPr>
          </a:lstStyle>
          <a:p>
            <a:endParaRPr lang="de-DE" sz="1600" dirty="0"/>
          </a:p>
        </p:txBody>
      </p:sp>
      <p:sp>
        <p:nvSpPr>
          <p:cNvPr id="6" name="Textplatzhalter 5">
            <a:extLst>
              <a:ext uri="{FF2B5EF4-FFF2-40B4-BE49-F238E27FC236}">
                <a16:creationId xmlns:a16="http://schemas.microsoft.com/office/drawing/2014/main" id="{D92FBF1F-0791-ECBB-5B14-DA9F7BCC4081}"/>
              </a:ext>
            </a:extLst>
          </p:cNvPr>
          <p:cNvSpPr>
            <a:spLocks noGrp="1"/>
          </p:cNvSpPr>
          <p:nvPr>
            <p:ph type="body" sz="quarter" idx="12"/>
          </p:nvPr>
        </p:nvSpPr>
        <p:spPr>
          <a:xfrm>
            <a:off x="479425" y="371703"/>
            <a:ext cx="11233150" cy="215444"/>
          </a:xfrm>
        </p:spPr>
        <p:txBody>
          <a:bodyPr/>
          <a:lstStyle/>
          <a:p>
            <a:r>
              <a:rPr lang="de-DE" dirty="0"/>
              <a:t>Worauf kommt es an?</a:t>
            </a:r>
          </a:p>
        </p:txBody>
      </p:sp>
      <p:pic>
        <p:nvPicPr>
          <p:cNvPr id="8" name="Grafik 7">
            <a:extLst>
              <a:ext uri="{FF2B5EF4-FFF2-40B4-BE49-F238E27FC236}">
                <a16:creationId xmlns:a16="http://schemas.microsoft.com/office/drawing/2014/main" id="{A356EF49-509F-3BC4-F5E9-EA68C8E3DA1B}"/>
              </a:ext>
            </a:extLst>
          </p:cNvPr>
          <p:cNvPicPr>
            <a:picLocks noChangeAspect="1"/>
          </p:cNvPicPr>
          <p:nvPr/>
        </p:nvPicPr>
        <p:blipFill>
          <a:blip r:embed="rId5"/>
          <a:stretch>
            <a:fillRect/>
          </a:stretch>
        </p:blipFill>
        <p:spPr>
          <a:xfrm>
            <a:off x="3277704" y="1335883"/>
            <a:ext cx="5636591" cy="5142628"/>
          </a:xfrm>
          <a:prstGeom prst="rect">
            <a:avLst/>
          </a:prstGeom>
        </p:spPr>
      </p:pic>
    </p:spTree>
    <p:extLst>
      <p:ext uri="{BB962C8B-B14F-4D97-AF65-F5344CB8AC3E}">
        <p14:creationId xmlns:p14="http://schemas.microsoft.com/office/powerpoint/2010/main" val="286246297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nodePh="1">
                                  <p:stCondLst>
                                    <p:cond delay="0"/>
                                  </p:stCondLst>
                                  <p:endCondLst>
                                    <p:cond evt="begin" delay="0">
                                      <p:tn val="5"/>
                                    </p:cond>
                                  </p:end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EAC8EA1E-6D47-4E01-8E0A-B5440CE42C0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5" name="Objekt 4" hidden="1">
                        <a:extLst>
                          <a:ext uri="{FF2B5EF4-FFF2-40B4-BE49-F238E27FC236}">
                            <a16:creationId xmlns:a16="http://schemas.microsoft.com/office/drawing/2014/main" id="{EAC8EA1E-6D47-4E01-8E0A-B5440CE42C0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4249AB66-CBBB-43EF-9ADD-D056233717BF}"/>
              </a:ext>
            </a:extLst>
          </p:cNvPr>
          <p:cNvSpPr>
            <a:spLocks noGrp="1"/>
          </p:cNvSpPr>
          <p:nvPr>
            <p:ph type="title"/>
          </p:nvPr>
        </p:nvSpPr>
        <p:spPr>
          <a:xfrm>
            <a:off x="479425" y="739916"/>
            <a:ext cx="11233150" cy="443198"/>
          </a:xfrm>
        </p:spPr>
        <p:txBody>
          <a:bodyPr vert="horz"/>
          <a:lstStyle/>
          <a:p>
            <a:r>
              <a:rPr lang="de-DE" dirty="0"/>
              <a:t>Umorganisation ist nicht gleich Umorganisation…</a:t>
            </a:r>
          </a:p>
        </p:txBody>
      </p:sp>
      <p:sp>
        <p:nvSpPr>
          <p:cNvPr id="3" name="Textplatzhalter 10">
            <a:extLst>
              <a:ext uri="{FF2B5EF4-FFF2-40B4-BE49-F238E27FC236}">
                <a16:creationId xmlns:a16="http://schemas.microsoft.com/office/drawing/2014/main" id="{DF4EFF8A-432F-EE7B-9094-9DB92A4FC2EF}"/>
              </a:ext>
            </a:extLst>
          </p:cNvPr>
          <p:cNvSpPr txBox="1">
            <a:spLocks/>
          </p:cNvSpPr>
          <p:nvPr/>
        </p:nvSpPr>
        <p:spPr>
          <a:xfrm>
            <a:off x="479425" y="1732912"/>
            <a:ext cx="8496000" cy="982800"/>
          </a:xfrm>
          <a:prstGeom prst="rect">
            <a:avLst/>
          </a:prstGeom>
        </p:spPr>
        <p:txBody>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2000" b="1" kern="1200">
                <a:solidFill>
                  <a:schemeClr val="tx2"/>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2"/>
                </a:solidFill>
                <a:latin typeface="+mn-lt"/>
                <a:ea typeface="+mn-ea"/>
                <a:cs typeface="+mn-cs"/>
              </a:defRPr>
            </a:lvl2pPr>
            <a:lvl3pPr marL="180000" indent="-180000" algn="l" defTabSz="914400" rtl="0" eaLnBrk="1" latinLnBrk="0" hangingPunct="1">
              <a:lnSpc>
                <a:spcPct val="100000"/>
              </a:lnSpc>
              <a:spcBef>
                <a:spcPts val="0"/>
              </a:spcBef>
              <a:spcAft>
                <a:spcPts val="600"/>
              </a:spcAft>
              <a:buClr>
                <a:schemeClr val="tx1"/>
              </a:buClr>
              <a:buFont typeface="Wingdings" panose="05000000000000000000" pitchFamily="2" charset="2"/>
              <a:buChar char="§"/>
              <a:defRPr sz="1600" kern="1200">
                <a:solidFill>
                  <a:schemeClr val="tx2"/>
                </a:solidFill>
                <a:latin typeface="+mn-lt"/>
                <a:ea typeface="+mn-ea"/>
                <a:cs typeface="+mn-cs"/>
              </a:defRPr>
            </a:lvl3pPr>
            <a:lvl4pPr marL="360000" indent="-180000" algn="l" defTabSz="914400" rtl="0" eaLnBrk="1" latinLnBrk="0" hangingPunct="1">
              <a:lnSpc>
                <a:spcPct val="100000"/>
              </a:lnSpc>
              <a:spcBef>
                <a:spcPts val="0"/>
              </a:spcBef>
              <a:spcAft>
                <a:spcPts val="600"/>
              </a:spcAft>
              <a:buClr>
                <a:schemeClr val="tx1"/>
              </a:buClr>
              <a:buFont typeface="Wingdings" panose="05000000000000000000" pitchFamily="2" charset="2"/>
              <a:buChar char="§"/>
              <a:defRPr sz="1600" kern="1200">
                <a:solidFill>
                  <a:schemeClr val="tx2"/>
                </a:solidFill>
                <a:latin typeface="+mn-lt"/>
                <a:ea typeface="+mn-ea"/>
                <a:cs typeface="+mn-cs"/>
              </a:defRPr>
            </a:lvl4pPr>
            <a:lvl5pPr marL="540000" indent="-180000" algn="l" defTabSz="914400" rtl="0" eaLnBrk="1" latinLnBrk="0" hangingPunct="1">
              <a:lnSpc>
                <a:spcPct val="100000"/>
              </a:lnSpc>
              <a:spcBef>
                <a:spcPts val="0"/>
              </a:spcBef>
              <a:spcAft>
                <a:spcPts val="600"/>
              </a:spcAft>
              <a:buClr>
                <a:schemeClr val="tx1"/>
              </a:buClr>
              <a:buFont typeface="Wingdings" panose="05000000000000000000" pitchFamily="2" charset="2"/>
              <a:buChar char="§"/>
              <a:defRPr sz="1600" kern="1200">
                <a:solidFill>
                  <a:schemeClr val="tx2"/>
                </a:solidFill>
                <a:latin typeface="+mn-lt"/>
                <a:ea typeface="+mn-ea"/>
                <a:cs typeface="+mn-cs"/>
              </a:defRPr>
            </a:lvl5pPr>
            <a:lvl6pPr marL="720000" indent="-180000" algn="l" defTabSz="914400" rtl="0" eaLnBrk="1" latinLnBrk="0" hangingPunct="1">
              <a:lnSpc>
                <a:spcPct val="100000"/>
              </a:lnSpc>
              <a:spcBef>
                <a:spcPts val="0"/>
              </a:spcBef>
              <a:spcAft>
                <a:spcPts val="600"/>
              </a:spcAft>
              <a:buClr>
                <a:schemeClr val="accent3"/>
              </a:buClr>
              <a:buFont typeface="Wingdings" panose="05000000000000000000" pitchFamily="2" charset="2"/>
              <a:buChar char="§"/>
              <a:defRPr sz="1600" kern="1200">
                <a:solidFill>
                  <a:schemeClr val="tx2"/>
                </a:solidFill>
                <a:latin typeface="+mn-lt"/>
                <a:ea typeface="+mn-ea"/>
                <a:cs typeface="+mn-cs"/>
              </a:defRPr>
            </a:lvl6pPr>
            <a:lvl7pPr marL="900000" indent="-180000" algn="l" defTabSz="914400" rtl="0" eaLnBrk="1" latinLnBrk="0" hangingPunct="1">
              <a:lnSpc>
                <a:spcPct val="100000"/>
              </a:lnSpc>
              <a:spcBef>
                <a:spcPts val="0"/>
              </a:spcBef>
              <a:spcAft>
                <a:spcPts val="600"/>
              </a:spcAft>
              <a:buClr>
                <a:schemeClr val="accent3"/>
              </a:buClr>
              <a:buFont typeface="Wingdings" panose="05000000000000000000" pitchFamily="2" charset="2"/>
              <a:buChar char="§"/>
              <a:defRPr sz="1600" kern="1200">
                <a:solidFill>
                  <a:schemeClr val="tx2"/>
                </a:solidFill>
                <a:latin typeface="+mn-lt"/>
                <a:ea typeface="+mn-ea"/>
                <a:cs typeface="+mn-cs"/>
              </a:defRPr>
            </a:lvl7pPr>
            <a:lvl8pPr marL="1080000" indent="-180000" algn="l" defTabSz="914400" rtl="0" eaLnBrk="1" latinLnBrk="0" hangingPunct="1">
              <a:lnSpc>
                <a:spcPct val="100000"/>
              </a:lnSpc>
              <a:spcBef>
                <a:spcPts val="0"/>
              </a:spcBef>
              <a:spcAft>
                <a:spcPts val="600"/>
              </a:spcAft>
              <a:buClr>
                <a:schemeClr val="accent3"/>
              </a:buClr>
              <a:buFont typeface="Wingdings" panose="05000000000000000000" pitchFamily="2" charset="2"/>
              <a:buChar char="§"/>
              <a:defRPr sz="1600" kern="1200">
                <a:solidFill>
                  <a:schemeClr val="tx2"/>
                </a:solidFill>
                <a:latin typeface="+mn-lt"/>
                <a:ea typeface="+mn-ea"/>
                <a:cs typeface="+mn-cs"/>
              </a:defRPr>
            </a:lvl8pPr>
            <a:lvl9pPr marL="1260000" indent="-180000" algn="l" defTabSz="914400" rtl="0" eaLnBrk="1" latinLnBrk="0" hangingPunct="1">
              <a:lnSpc>
                <a:spcPct val="100000"/>
              </a:lnSpc>
              <a:spcBef>
                <a:spcPts val="0"/>
              </a:spcBef>
              <a:spcAft>
                <a:spcPts val="600"/>
              </a:spcAft>
              <a:buClr>
                <a:schemeClr val="accent3"/>
              </a:buClr>
              <a:buFont typeface="Wingdings" panose="05000000000000000000" pitchFamily="2" charset="2"/>
              <a:buChar char="§"/>
              <a:defRPr sz="1600" kern="1200">
                <a:solidFill>
                  <a:schemeClr val="tx2"/>
                </a:solidFill>
                <a:latin typeface="+mn-lt"/>
                <a:ea typeface="+mn-ea"/>
                <a:cs typeface="+mn-cs"/>
              </a:defRPr>
            </a:lvl9pPr>
          </a:lstStyle>
          <a:p>
            <a:endParaRPr lang="de-DE" sz="1600" dirty="0"/>
          </a:p>
        </p:txBody>
      </p:sp>
      <p:sp>
        <p:nvSpPr>
          <p:cNvPr id="6" name="Textplatzhalter 5">
            <a:extLst>
              <a:ext uri="{FF2B5EF4-FFF2-40B4-BE49-F238E27FC236}">
                <a16:creationId xmlns:a16="http://schemas.microsoft.com/office/drawing/2014/main" id="{D92FBF1F-0791-ECBB-5B14-DA9F7BCC4081}"/>
              </a:ext>
            </a:extLst>
          </p:cNvPr>
          <p:cNvSpPr>
            <a:spLocks noGrp="1"/>
          </p:cNvSpPr>
          <p:nvPr>
            <p:ph type="body" sz="quarter" idx="12"/>
          </p:nvPr>
        </p:nvSpPr>
        <p:spPr>
          <a:xfrm>
            <a:off x="479425" y="371703"/>
            <a:ext cx="11233150" cy="215444"/>
          </a:xfrm>
        </p:spPr>
        <p:txBody>
          <a:bodyPr/>
          <a:lstStyle/>
          <a:p>
            <a:r>
              <a:rPr lang="de-DE" dirty="0"/>
              <a:t>Worauf kommt es an?</a:t>
            </a:r>
          </a:p>
        </p:txBody>
      </p:sp>
      <p:pic>
        <p:nvPicPr>
          <p:cNvPr id="7" name="Grafik 6">
            <a:extLst>
              <a:ext uri="{FF2B5EF4-FFF2-40B4-BE49-F238E27FC236}">
                <a16:creationId xmlns:a16="http://schemas.microsoft.com/office/drawing/2014/main" id="{41FB6444-409B-5FC5-7B49-2AD8CD40BA3B}"/>
              </a:ext>
            </a:extLst>
          </p:cNvPr>
          <p:cNvPicPr>
            <a:picLocks noChangeAspect="1"/>
          </p:cNvPicPr>
          <p:nvPr/>
        </p:nvPicPr>
        <p:blipFill>
          <a:blip r:embed="rId5"/>
          <a:stretch>
            <a:fillRect/>
          </a:stretch>
        </p:blipFill>
        <p:spPr>
          <a:xfrm>
            <a:off x="0" y="3069249"/>
            <a:ext cx="12192000" cy="719502"/>
          </a:xfrm>
          <a:prstGeom prst="rect">
            <a:avLst/>
          </a:prstGeom>
        </p:spPr>
      </p:pic>
    </p:spTree>
    <p:extLst>
      <p:ext uri="{BB962C8B-B14F-4D97-AF65-F5344CB8AC3E}">
        <p14:creationId xmlns:p14="http://schemas.microsoft.com/office/powerpoint/2010/main" val="385424458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nodePh="1">
                                  <p:stCondLst>
                                    <p:cond delay="0"/>
                                  </p:stCondLst>
                                  <p:endCondLst>
                                    <p:cond evt="begin" delay="0">
                                      <p:tn val="5"/>
                                    </p:cond>
                                  </p:end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EAC8EA1E-6D47-4E01-8E0A-B5440CE42C0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5" name="Objekt 4" hidden="1">
                        <a:extLst>
                          <a:ext uri="{FF2B5EF4-FFF2-40B4-BE49-F238E27FC236}">
                            <a16:creationId xmlns:a16="http://schemas.microsoft.com/office/drawing/2014/main" id="{EAC8EA1E-6D47-4E01-8E0A-B5440CE42C0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4249AB66-CBBB-43EF-9ADD-D056233717BF}"/>
              </a:ext>
            </a:extLst>
          </p:cNvPr>
          <p:cNvSpPr>
            <a:spLocks noGrp="1"/>
          </p:cNvSpPr>
          <p:nvPr>
            <p:ph type="title"/>
          </p:nvPr>
        </p:nvSpPr>
        <p:spPr>
          <a:xfrm>
            <a:off x="479425" y="739916"/>
            <a:ext cx="11233150" cy="443198"/>
          </a:xfrm>
        </p:spPr>
        <p:txBody>
          <a:bodyPr vert="horz"/>
          <a:lstStyle/>
          <a:p>
            <a:r>
              <a:rPr lang="de-DE" dirty="0"/>
              <a:t>Und Unterstützung bei Umorganisation…</a:t>
            </a:r>
          </a:p>
        </p:txBody>
      </p:sp>
      <p:sp>
        <p:nvSpPr>
          <p:cNvPr id="3" name="Textplatzhalter 10">
            <a:extLst>
              <a:ext uri="{FF2B5EF4-FFF2-40B4-BE49-F238E27FC236}">
                <a16:creationId xmlns:a16="http://schemas.microsoft.com/office/drawing/2014/main" id="{DF4EFF8A-432F-EE7B-9094-9DB92A4FC2EF}"/>
              </a:ext>
            </a:extLst>
          </p:cNvPr>
          <p:cNvSpPr txBox="1">
            <a:spLocks/>
          </p:cNvSpPr>
          <p:nvPr/>
        </p:nvSpPr>
        <p:spPr>
          <a:xfrm>
            <a:off x="479425" y="1732912"/>
            <a:ext cx="8496000" cy="982800"/>
          </a:xfrm>
          <a:prstGeom prst="rect">
            <a:avLst/>
          </a:prstGeom>
        </p:spPr>
        <p:txBody>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2000" b="1" kern="1200">
                <a:solidFill>
                  <a:schemeClr val="tx2"/>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2"/>
                </a:solidFill>
                <a:latin typeface="+mn-lt"/>
                <a:ea typeface="+mn-ea"/>
                <a:cs typeface="+mn-cs"/>
              </a:defRPr>
            </a:lvl2pPr>
            <a:lvl3pPr marL="180000" indent="-180000" algn="l" defTabSz="914400" rtl="0" eaLnBrk="1" latinLnBrk="0" hangingPunct="1">
              <a:lnSpc>
                <a:spcPct val="100000"/>
              </a:lnSpc>
              <a:spcBef>
                <a:spcPts val="0"/>
              </a:spcBef>
              <a:spcAft>
                <a:spcPts val="600"/>
              </a:spcAft>
              <a:buClr>
                <a:schemeClr val="tx1"/>
              </a:buClr>
              <a:buFont typeface="Wingdings" panose="05000000000000000000" pitchFamily="2" charset="2"/>
              <a:buChar char="§"/>
              <a:defRPr sz="1600" kern="1200">
                <a:solidFill>
                  <a:schemeClr val="tx2"/>
                </a:solidFill>
                <a:latin typeface="+mn-lt"/>
                <a:ea typeface="+mn-ea"/>
                <a:cs typeface="+mn-cs"/>
              </a:defRPr>
            </a:lvl3pPr>
            <a:lvl4pPr marL="360000" indent="-180000" algn="l" defTabSz="914400" rtl="0" eaLnBrk="1" latinLnBrk="0" hangingPunct="1">
              <a:lnSpc>
                <a:spcPct val="100000"/>
              </a:lnSpc>
              <a:spcBef>
                <a:spcPts val="0"/>
              </a:spcBef>
              <a:spcAft>
                <a:spcPts val="600"/>
              </a:spcAft>
              <a:buClr>
                <a:schemeClr val="tx1"/>
              </a:buClr>
              <a:buFont typeface="Wingdings" panose="05000000000000000000" pitchFamily="2" charset="2"/>
              <a:buChar char="§"/>
              <a:defRPr sz="1600" kern="1200">
                <a:solidFill>
                  <a:schemeClr val="tx2"/>
                </a:solidFill>
                <a:latin typeface="+mn-lt"/>
                <a:ea typeface="+mn-ea"/>
                <a:cs typeface="+mn-cs"/>
              </a:defRPr>
            </a:lvl4pPr>
            <a:lvl5pPr marL="540000" indent="-180000" algn="l" defTabSz="914400" rtl="0" eaLnBrk="1" latinLnBrk="0" hangingPunct="1">
              <a:lnSpc>
                <a:spcPct val="100000"/>
              </a:lnSpc>
              <a:spcBef>
                <a:spcPts val="0"/>
              </a:spcBef>
              <a:spcAft>
                <a:spcPts val="600"/>
              </a:spcAft>
              <a:buClr>
                <a:schemeClr val="tx1"/>
              </a:buClr>
              <a:buFont typeface="Wingdings" panose="05000000000000000000" pitchFamily="2" charset="2"/>
              <a:buChar char="§"/>
              <a:defRPr sz="1600" kern="1200">
                <a:solidFill>
                  <a:schemeClr val="tx2"/>
                </a:solidFill>
                <a:latin typeface="+mn-lt"/>
                <a:ea typeface="+mn-ea"/>
                <a:cs typeface="+mn-cs"/>
              </a:defRPr>
            </a:lvl5pPr>
            <a:lvl6pPr marL="720000" indent="-180000" algn="l" defTabSz="914400" rtl="0" eaLnBrk="1" latinLnBrk="0" hangingPunct="1">
              <a:lnSpc>
                <a:spcPct val="100000"/>
              </a:lnSpc>
              <a:spcBef>
                <a:spcPts val="0"/>
              </a:spcBef>
              <a:spcAft>
                <a:spcPts val="600"/>
              </a:spcAft>
              <a:buClr>
                <a:schemeClr val="accent3"/>
              </a:buClr>
              <a:buFont typeface="Wingdings" panose="05000000000000000000" pitchFamily="2" charset="2"/>
              <a:buChar char="§"/>
              <a:defRPr sz="1600" kern="1200">
                <a:solidFill>
                  <a:schemeClr val="tx2"/>
                </a:solidFill>
                <a:latin typeface="+mn-lt"/>
                <a:ea typeface="+mn-ea"/>
                <a:cs typeface="+mn-cs"/>
              </a:defRPr>
            </a:lvl6pPr>
            <a:lvl7pPr marL="900000" indent="-180000" algn="l" defTabSz="914400" rtl="0" eaLnBrk="1" latinLnBrk="0" hangingPunct="1">
              <a:lnSpc>
                <a:spcPct val="100000"/>
              </a:lnSpc>
              <a:spcBef>
                <a:spcPts val="0"/>
              </a:spcBef>
              <a:spcAft>
                <a:spcPts val="600"/>
              </a:spcAft>
              <a:buClr>
                <a:schemeClr val="accent3"/>
              </a:buClr>
              <a:buFont typeface="Wingdings" panose="05000000000000000000" pitchFamily="2" charset="2"/>
              <a:buChar char="§"/>
              <a:defRPr sz="1600" kern="1200">
                <a:solidFill>
                  <a:schemeClr val="tx2"/>
                </a:solidFill>
                <a:latin typeface="+mn-lt"/>
                <a:ea typeface="+mn-ea"/>
                <a:cs typeface="+mn-cs"/>
              </a:defRPr>
            </a:lvl7pPr>
            <a:lvl8pPr marL="1080000" indent="-180000" algn="l" defTabSz="914400" rtl="0" eaLnBrk="1" latinLnBrk="0" hangingPunct="1">
              <a:lnSpc>
                <a:spcPct val="100000"/>
              </a:lnSpc>
              <a:spcBef>
                <a:spcPts val="0"/>
              </a:spcBef>
              <a:spcAft>
                <a:spcPts val="600"/>
              </a:spcAft>
              <a:buClr>
                <a:schemeClr val="accent3"/>
              </a:buClr>
              <a:buFont typeface="Wingdings" panose="05000000000000000000" pitchFamily="2" charset="2"/>
              <a:buChar char="§"/>
              <a:defRPr sz="1600" kern="1200">
                <a:solidFill>
                  <a:schemeClr val="tx2"/>
                </a:solidFill>
                <a:latin typeface="+mn-lt"/>
                <a:ea typeface="+mn-ea"/>
                <a:cs typeface="+mn-cs"/>
              </a:defRPr>
            </a:lvl8pPr>
            <a:lvl9pPr marL="1260000" indent="-180000" algn="l" defTabSz="914400" rtl="0" eaLnBrk="1" latinLnBrk="0" hangingPunct="1">
              <a:lnSpc>
                <a:spcPct val="100000"/>
              </a:lnSpc>
              <a:spcBef>
                <a:spcPts val="0"/>
              </a:spcBef>
              <a:spcAft>
                <a:spcPts val="600"/>
              </a:spcAft>
              <a:buClr>
                <a:schemeClr val="accent3"/>
              </a:buClr>
              <a:buFont typeface="Wingdings" panose="05000000000000000000" pitchFamily="2" charset="2"/>
              <a:buChar char="§"/>
              <a:defRPr sz="1600" kern="1200">
                <a:solidFill>
                  <a:schemeClr val="tx2"/>
                </a:solidFill>
                <a:latin typeface="+mn-lt"/>
                <a:ea typeface="+mn-ea"/>
                <a:cs typeface="+mn-cs"/>
              </a:defRPr>
            </a:lvl9pPr>
          </a:lstStyle>
          <a:p>
            <a:endParaRPr lang="de-DE" sz="1600" dirty="0"/>
          </a:p>
        </p:txBody>
      </p:sp>
      <p:sp>
        <p:nvSpPr>
          <p:cNvPr id="6" name="Textplatzhalter 5">
            <a:extLst>
              <a:ext uri="{FF2B5EF4-FFF2-40B4-BE49-F238E27FC236}">
                <a16:creationId xmlns:a16="http://schemas.microsoft.com/office/drawing/2014/main" id="{D92FBF1F-0791-ECBB-5B14-DA9F7BCC4081}"/>
              </a:ext>
            </a:extLst>
          </p:cNvPr>
          <p:cNvSpPr>
            <a:spLocks noGrp="1"/>
          </p:cNvSpPr>
          <p:nvPr>
            <p:ph type="body" sz="quarter" idx="12"/>
          </p:nvPr>
        </p:nvSpPr>
        <p:spPr>
          <a:xfrm>
            <a:off x="479425" y="371703"/>
            <a:ext cx="11233150" cy="215444"/>
          </a:xfrm>
        </p:spPr>
        <p:txBody>
          <a:bodyPr/>
          <a:lstStyle/>
          <a:p>
            <a:r>
              <a:rPr lang="de-DE" dirty="0"/>
              <a:t>Worauf kommt es an?</a:t>
            </a:r>
          </a:p>
        </p:txBody>
      </p:sp>
      <p:pic>
        <p:nvPicPr>
          <p:cNvPr id="8" name="Grafik 7">
            <a:extLst>
              <a:ext uri="{FF2B5EF4-FFF2-40B4-BE49-F238E27FC236}">
                <a16:creationId xmlns:a16="http://schemas.microsoft.com/office/drawing/2014/main" id="{885EB0C0-630D-5B5A-D621-288302CC3896}"/>
              </a:ext>
            </a:extLst>
          </p:cNvPr>
          <p:cNvPicPr>
            <a:picLocks noChangeAspect="1"/>
          </p:cNvPicPr>
          <p:nvPr/>
        </p:nvPicPr>
        <p:blipFill>
          <a:blip r:embed="rId5"/>
          <a:stretch>
            <a:fillRect/>
          </a:stretch>
        </p:blipFill>
        <p:spPr>
          <a:xfrm>
            <a:off x="479425" y="1482052"/>
            <a:ext cx="4734586" cy="2467319"/>
          </a:xfrm>
          <a:prstGeom prst="rect">
            <a:avLst/>
          </a:prstGeom>
        </p:spPr>
      </p:pic>
      <p:pic>
        <p:nvPicPr>
          <p:cNvPr id="10" name="Grafik 9">
            <a:extLst>
              <a:ext uri="{FF2B5EF4-FFF2-40B4-BE49-F238E27FC236}">
                <a16:creationId xmlns:a16="http://schemas.microsoft.com/office/drawing/2014/main" id="{1F07192B-187D-0963-FECA-247D7A91A839}"/>
              </a:ext>
            </a:extLst>
          </p:cNvPr>
          <p:cNvPicPr>
            <a:picLocks noChangeAspect="1"/>
          </p:cNvPicPr>
          <p:nvPr/>
        </p:nvPicPr>
        <p:blipFill>
          <a:blip r:embed="rId6"/>
          <a:stretch>
            <a:fillRect/>
          </a:stretch>
        </p:blipFill>
        <p:spPr>
          <a:xfrm>
            <a:off x="3488215" y="1232578"/>
            <a:ext cx="4427448" cy="2966265"/>
          </a:xfrm>
          <a:prstGeom prst="rect">
            <a:avLst/>
          </a:prstGeom>
        </p:spPr>
      </p:pic>
      <p:pic>
        <p:nvPicPr>
          <p:cNvPr id="12" name="Grafik 11">
            <a:extLst>
              <a:ext uri="{FF2B5EF4-FFF2-40B4-BE49-F238E27FC236}">
                <a16:creationId xmlns:a16="http://schemas.microsoft.com/office/drawing/2014/main" id="{764E1929-D7C0-40E4-3FA2-BBC1306832BB}"/>
              </a:ext>
            </a:extLst>
          </p:cNvPr>
          <p:cNvPicPr>
            <a:picLocks noChangeAspect="1"/>
          </p:cNvPicPr>
          <p:nvPr/>
        </p:nvPicPr>
        <p:blipFill>
          <a:blip r:embed="rId7"/>
          <a:stretch>
            <a:fillRect/>
          </a:stretch>
        </p:blipFill>
        <p:spPr>
          <a:xfrm>
            <a:off x="696887" y="3960123"/>
            <a:ext cx="3329829" cy="1491439"/>
          </a:xfrm>
          <a:prstGeom prst="rect">
            <a:avLst/>
          </a:prstGeom>
        </p:spPr>
      </p:pic>
      <p:pic>
        <p:nvPicPr>
          <p:cNvPr id="14" name="Grafik 13">
            <a:extLst>
              <a:ext uri="{FF2B5EF4-FFF2-40B4-BE49-F238E27FC236}">
                <a16:creationId xmlns:a16="http://schemas.microsoft.com/office/drawing/2014/main" id="{329B2F36-27F6-0CC5-E849-28343273758B}"/>
              </a:ext>
            </a:extLst>
          </p:cNvPr>
          <p:cNvPicPr>
            <a:picLocks noChangeAspect="1"/>
          </p:cNvPicPr>
          <p:nvPr/>
        </p:nvPicPr>
        <p:blipFill>
          <a:blip r:embed="rId8"/>
          <a:stretch>
            <a:fillRect/>
          </a:stretch>
        </p:blipFill>
        <p:spPr>
          <a:xfrm>
            <a:off x="6355202" y="1194981"/>
            <a:ext cx="5629013" cy="1380701"/>
          </a:xfrm>
          <a:prstGeom prst="rect">
            <a:avLst/>
          </a:prstGeom>
        </p:spPr>
      </p:pic>
      <p:pic>
        <p:nvPicPr>
          <p:cNvPr id="16" name="Grafik 15">
            <a:extLst>
              <a:ext uri="{FF2B5EF4-FFF2-40B4-BE49-F238E27FC236}">
                <a16:creationId xmlns:a16="http://schemas.microsoft.com/office/drawing/2014/main" id="{A7DC713D-F5E9-B2D6-68F0-5CF92AE888E8}"/>
              </a:ext>
            </a:extLst>
          </p:cNvPr>
          <p:cNvPicPr>
            <a:picLocks noChangeAspect="1"/>
          </p:cNvPicPr>
          <p:nvPr/>
        </p:nvPicPr>
        <p:blipFill>
          <a:blip r:embed="rId9"/>
          <a:stretch>
            <a:fillRect/>
          </a:stretch>
        </p:blipFill>
        <p:spPr>
          <a:xfrm>
            <a:off x="6722903" y="2392296"/>
            <a:ext cx="4667901" cy="2210108"/>
          </a:xfrm>
          <a:prstGeom prst="rect">
            <a:avLst/>
          </a:prstGeom>
        </p:spPr>
      </p:pic>
      <p:pic>
        <p:nvPicPr>
          <p:cNvPr id="18" name="Grafik 17">
            <a:extLst>
              <a:ext uri="{FF2B5EF4-FFF2-40B4-BE49-F238E27FC236}">
                <a16:creationId xmlns:a16="http://schemas.microsoft.com/office/drawing/2014/main" id="{55E2E8D1-486E-7F11-0AA0-953993F4473D}"/>
              </a:ext>
            </a:extLst>
          </p:cNvPr>
          <p:cNvPicPr>
            <a:picLocks noChangeAspect="1"/>
          </p:cNvPicPr>
          <p:nvPr/>
        </p:nvPicPr>
        <p:blipFill>
          <a:blip r:embed="rId10"/>
          <a:stretch>
            <a:fillRect/>
          </a:stretch>
        </p:blipFill>
        <p:spPr>
          <a:xfrm>
            <a:off x="3605466" y="3750552"/>
            <a:ext cx="5913278" cy="2709629"/>
          </a:xfrm>
          <a:prstGeom prst="rect">
            <a:avLst/>
          </a:prstGeom>
        </p:spPr>
      </p:pic>
    </p:spTree>
    <p:extLst>
      <p:ext uri="{BB962C8B-B14F-4D97-AF65-F5344CB8AC3E}">
        <p14:creationId xmlns:p14="http://schemas.microsoft.com/office/powerpoint/2010/main" val="419223746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500"/>
                                        <p:tgtEl>
                                          <p:spTgt spid="12"/>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nodePh="1">
                                  <p:stCondLst>
                                    <p:cond delay="0"/>
                                  </p:stCondLst>
                                  <p:endCondLst>
                                    <p:cond evt="begin" delay="0">
                                      <p:tn val="10"/>
                                    </p:cond>
                                  </p:endCondLst>
                                  <p:childTnLst>
                                    <p:set>
                                      <p:cBhvr>
                                        <p:cTn id="11" dur="1" fill="hold">
                                          <p:stCondLst>
                                            <p:cond delay="0"/>
                                          </p:stCondLst>
                                        </p:cTn>
                                        <p:tgtEl>
                                          <p:spTgt spid="3">
                                            <p:txEl>
                                              <p:pRg st="0" end="0"/>
                                            </p:txEl>
                                          </p:spTgt>
                                        </p:tgtEl>
                                        <p:attrNameLst>
                                          <p:attrName>style.visibility</p:attrName>
                                        </p:attrNameLst>
                                      </p:cBhvr>
                                      <p:to>
                                        <p:strVal val="visible"/>
                                      </p:to>
                                    </p:set>
                                    <p:animEffect transition="in" filter="fade">
                                      <p:cBhvr>
                                        <p:cTn id="12" dur="500"/>
                                        <p:tgtEl>
                                          <p:spTgt spid="3">
                                            <p:txEl>
                                              <p:pRg st="0" end="0"/>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10"/>
                                        </p:tgtEl>
                                        <p:attrNameLst>
                                          <p:attrName>style.visibility</p:attrName>
                                        </p:attrNameLst>
                                      </p:cBhvr>
                                      <p:to>
                                        <p:strVal val="visible"/>
                                      </p:to>
                                    </p:set>
                                    <p:animEffect transition="in" filter="fade">
                                      <p:cBhvr>
                                        <p:cTn id="17" dur="500"/>
                                        <p:tgtEl>
                                          <p:spTgt spid="10"/>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14"/>
                                        </p:tgtEl>
                                        <p:attrNameLst>
                                          <p:attrName>style.visibility</p:attrName>
                                        </p:attrNameLst>
                                      </p:cBhvr>
                                      <p:to>
                                        <p:strVal val="visible"/>
                                      </p:to>
                                    </p:set>
                                    <p:animEffect transition="in" filter="fade">
                                      <p:cBhvr>
                                        <p:cTn id="22" dur="500"/>
                                        <p:tgtEl>
                                          <p:spTgt spid="14"/>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16"/>
                                        </p:tgtEl>
                                        <p:attrNameLst>
                                          <p:attrName>style.visibility</p:attrName>
                                        </p:attrNameLst>
                                      </p:cBhvr>
                                      <p:to>
                                        <p:strVal val="visible"/>
                                      </p:to>
                                    </p:set>
                                    <p:animEffect transition="in" filter="fade">
                                      <p:cBhvr>
                                        <p:cTn id="27" dur="500"/>
                                        <p:tgtEl>
                                          <p:spTgt spid="16"/>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18"/>
                                        </p:tgtEl>
                                        <p:attrNameLst>
                                          <p:attrName>style.visibility</p:attrName>
                                        </p:attrNameLst>
                                      </p:cBhvr>
                                      <p:to>
                                        <p:strVal val="visible"/>
                                      </p:to>
                                    </p:set>
                                    <p:animEffect transition="in" filter="fade">
                                      <p:cBhvr>
                                        <p:cTn id="32" dur="5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a:extLst>
              <a:ext uri="{FF2B5EF4-FFF2-40B4-BE49-F238E27FC236}">
                <a16:creationId xmlns:a16="http://schemas.microsoft.com/office/drawing/2014/main" id="{87A20A7B-A25F-31C1-C9CB-8F4DB4F8099A}"/>
              </a:ext>
            </a:extLst>
          </p:cNvPr>
          <p:cNvSpPr>
            <a:spLocks noGrp="1"/>
          </p:cNvSpPr>
          <p:nvPr>
            <p:ph type="body" sz="quarter" idx="17"/>
          </p:nvPr>
        </p:nvSpPr>
        <p:spPr/>
        <p:txBody>
          <a:bodyPr/>
          <a:lstStyle/>
          <a:p>
            <a:r>
              <a:rPr lang="de-DE" dirty="0"/>
              <a:t>Muss ein Freiberufler privat vorsorgen?</a:t>
            </a:r>
          </a:p>
        </p:txBody>
      </p:sp>
      <p:sp>
        <p:nvSpPr>
          <p:cNvPr id="5" name="Titel 4">
            <a:extLst>
              <a:ext uri="{FF2B5EF4-FFF2-40B4-BE49-F238E27FC236}">
                <a16:creationId xmlns:a16="http://schemas.microsoft.com/office/drawing/2014/main" id="{CAED657D-4351-4F1E-89EF-C7696BDB429B}"/>
              </a:ext>
            </a:extLst>
          </p:cNvPr>
          <p:cNvSpPr>
            <a:spLocks noGrp="1"/>
          </p:cNvSpPr>
          <p:nvPr>
            <p:ph type="title" idx="4294967295"/>
          </p:nvPr>
        </p:nvSpPr>
        <p:spPr>
          <a:xfrm>
            <a:off x="0" y="1695450"/>
            <a:ext cx="5935663" cy="3467100"/>
          </a:xfrm>
        </p:spPr>
        <p:txBody>
          <a:bodyPr vert="horz" lIns="91440" tIns="45720" rIns="91440" bIns="45720" rtlCol="0" anchor="b">
            <a:normAutofit/>
          </a:bodyPr>
          <a:lstStyle/>
          <a:p>
            <a:pPr algn="l"/>
            <a:br>
              <a:rPr lang="de-DE" b="1" dirty="0">
                <a:solidFill>
                  <a:srgbClr val="FFFFFF"/>
                </a:solidFill>
              </a:rPr>
            </a:br>
            <a:br>
              <a:rPr lang="de-DE" b="1" dirty="0">
                <a:solidFill>
                  <a:srgbClr val="FFFFFF"/>
                </a:solidFill>
              </a:rPr>
            </a:br>
            <a:endParaRPr lang="en-US" b="1" kern="1200" dirty="0">
              <a:solidFill>
                <a:srgbClr val="FFFFFF"/>
              </a:solidFill>
            </a:endParaRPr>
          </a:p>
        </p:txBody>
      </p:sp>
      <p:pic>
        <p:nvPicPr>
          <p:cNvPr id="7" name="Bildplatzhalter 6" descr="Ein Bild, das Kleidung, Person, Mann, Schuhwerk enthält.&#10;&#10;Automatisch generierte Beschreibung">
            <a:extLst>
              <a:ext uri="{FF2B5EF4-FFF2-40B4-BE49-F238E27FC236}">
                <a16:creationId xmlns:a16="http://schemas.microsoft.com/office/drawing/2014/main" id="{1BDA241F-BEF6-B074-D262-2D5A05B7E136}"/>
              </a:ext>
            </a:extLst>
          </p:cNvPr>
          <p:cNvPicPr>
            <a:picLocks noGrp="1" noChangeAspect="1"/>
          </p:cNvPicPr>
          <p:nvPr>
            <p:ph type="pic" sz="quarter" idx="14"/>
          </p:nvPr>
        </p:nvPicPr>
        <p:blipFill>
          <a:blip r:embed="rId2"/>
          <a:srcRect t="9087" b="9087"/>
          <a:stretch>
            <a:fillRect/>
          </a:stretch>
        </p:blipFill>
        <p:spPr/>
      </p:pic>
    </p:spTree>
    <p:extLst>
      <p:ext uri="{BB962C8B-B14F-4D97-AF65-F5344CB8AC3E}">
        <p14:creationId xmlns:p14="http://schemas.microsoft.com/office/powerpoint/2010/main" val="257318539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500"/>
                                  </p:stCondLst>
                                  <p:iterate>
                                    <p:tmPct val="10000"/>
                                  </p:iterate>
                                  <p:childTnLst>
                                    <p:set>
                                      <p:cBhvr>
                                        <p:cTn id="6" dur="1" fill="hold">
                                          <p:stCondLst>
                                            <p:cond delay="0"/>
                                          </p:stCondLst>
                                        </p:cTn>
                                        <p:tgtEl>
                                          <p:spTgt spid="5"/>
                                        </p:tgtEl>
                                        <p:attrNameLst>
                                          <p:attrName>style.visibility</p:attrName>
                                        </p:attrNameLst>
                                      </p:cBhvr>
                                      <p:to>
                                        <p:strVal val="visible"/>
                                      </p:to>
                                    </p:set>
                                    <p:animEffect transition="in" filter="fade">
                                      <p:cBhvr>
                                        <p:cTn id="7" dur="7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EAC8EA1E-6D47-4E01-8E0A-B5440CE42C0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5" name="Objekt 4" hidden="1">
                        <a:extLst>
                          <a:ext uri="{FF2B5EF4-FFF2-40B4-BE49-F238E27FC236}">
                            <a16:creationId xmlns:a16="http://schemas.microsoft.com/office/drawing/2014/main" id="{EAC8EA1E-6D47-4E01-8E0A-B5440CE42C0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1" name="Bildplatzhalter 10" descr="Ein Bild, das Kleidung, Menschliches Gesicht, Person, Wand enthält.&#10;&#10;Automatisch generierte Beschreibung">
            <a:extLst>
              <a:ext uri="{FF2B5EF4-FFF2-40B4-BE49-F238E27FC236}">
                <a16:creationId xmlns:a16="http://schemas.microsoft.com/office/drawing/2014/main" id="{9A6022B8-D78A-BD59-048C-90BABE5E0BD5}"/>
              </a:ext>
            </a:extLst>
          </p:cNvPr>
          <p:cNvPicPr>
            <a:picLocks noGrp="1" noChangeAspect="1"/>
          </p:cNvPicPr>
          <p:nvPr>
            <p:ph type="pic" sz="quarter" idx="13"/>
          </p:nvPr>
        </p:nvPicPr>
        <p:blipFill>
          <a:blip r:embed="rId5"/>
          <a:srcRect l="21234" r="21234"/>
          <a:stretch>
            <a:fillRect/>
          </a:stretch>
        </p:blipFill>
        <p:spPr/>
      </p:pic>
      <p:sp>
        <p:nvSpPr>
          <p:cNvPr id="2" name="Titel 1">
            <a:extLst>
              <a:ext uri="{FF2B5EF4-FFF2-40B4-BE49-F238E27FC236}">
                <a16:creationId xmlns:a16="http://schemas.microsoft.com/office/drawing/2014/main" id="{4249AB66-CBBB-43EF-9ADD-D056233717BF}"/>
              </a:ext>
            </a:extLst>
          </p:cNvPr>
          <p:cNvSpPr>
            <a:spLocks noGrp="1"/>
          </p:cNvSpPr>
          <p:nvPr>
            <p:ph type="title"/>
          </p:nvPr>
        </p:nvSpPr>
        <p:spPr/>
        <p:txBody>
          <a:bodyPr vert="horz"/>
          <a:lstStyle/>
          <a:p>
            <a:r>
              <a:rPr lang="de-DE" dirty="0"/>
              <a:t>Der Freiberufler ist grundsätzlich abgesichert…</a:t>
            </a:r>
          </a:p>
        </p:txBody>
      </p:sp>
      <p:sp>
        <p:nvSpPr>
          <p:cNvPr id="4" name="Textplatzhalter 3">
            <a:extLst>
              <a:ext uri="{FF2B5EF4-FFF2-40B4-BE49-F238E27FC236}">
                <a16:creationId xmlns:a16="http://schemas.microsoft.com/office/drawing/2014/main" id="{69CCC8FD-556F-E20E-7D9E-D5A0189F1BA0}"/>
              </a:ext>
            </a:extLst>
          </p:cNvPr>
          <p:cNvSpPr>
            <a:spLocks noGrp="1"/>
          </p:cNvSpPr>
          <p:nvPr>
            <p:ph type="body" sz="quarter" idx="12"/>
          </p:nvPr>
        </p:nvSpPr>
        <p:spPr>
          <a:xfrm>
            <a:off x="6240461" y="371703"/>
            <a:ext cx="5472114" cy="215444"/>
          </a:xfrm>
        </p:spPr>
        <p:txBody>
          <a:bodyPr/>
          <a:lstStyle/>
          <a:p>
            <a:r>
              <a:rPr lang="de-DE" dirty="0"/>
              <a:t>Was braucht der Freiberufler?</a:t>
            </a:r>
          </a:p>
        </p:txBody>
      </p:sp>
      <p:sp>
        <p:nvSpPr>
          <p:cNvPr id="3" name="Textplatzhalter 10">
            <a:extLst>
              <a:ext uri="{FF2B5EF4-FFF2-40B4-BE49-F238E27FC236}">
                <a16:creationId xmlns:a16="http://schemas.microsoft.com/office/drawing/2014/main" id="{DF4EFF8A-432F-EE7B-9094-9DB92A4FC2EF}"/>
              </a:ext>
            </a:extLst>
          </p:cNvPr>
          <p:cNvSpPr txBox="1">
            <a:spLocks/>
          </p:cNvSpPr>
          <p:nvPr/>
        </p:nvSpPr>
        <p:spPr>
          <a:xfrm>
            <a:off x="6096000" y="2320003"/>
            <a:ext cx="5678094" cy="982800"/>
          </a:xfrm>
          <a:prstGeom prst="rect">
            <a:avLst/>
          </a:prstGeom>
        </p:spPr>
        <p:txBody>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2000" b="1" kern="1200">
                <a:solidFill>
                  <a:schemeClr val="tx2"/>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2"/>
                </a:solidFill>
                <a:latin typeface="+mn-lt"/>
                <a:ea typeface="+mn-ea"/>
                <a:cs typeface="+mn-cs"/>
              </a:defRPr>
            </a:lvl2pPr>
            <a:lvl3pPr marL="180000" indent="-180000" algn="l" defTabSz="914400" rtl="0" eaLnBrk="1" latinLnBrk="0" hangingPunct="1">
              <a:lnSpc>
                <a:spcPct val="100000"/>
              </a:lnSpc>
              <a:spcBef>
                <a:spcPts val="0"/>
              </a:spcBef>
              <a:spcAft>
                <a:spcPts val="600"/>
              </a:spcAft>
              <a:buClr>
                <a:schemeClr val="tx1"/>
              </a:buClr>
              <a:buFont typeface="Wingdings" panose="05000000000000000000" pitchFamily="2" charset="2"/>
              <a:buChar char="§"/>
              <a:defRPr sz="1600" kern="1200">
                <a:solidFill>
                  <a:schemeClr val="tx2"/>
                </a:solidFill>
                <a:latin typeface="+mn-lt"/>
                <a:ea typeface="+mn-ea"/>
                <a:cs typeface="+mn-cs"/>
              </a:defRPr>
            </a:lvl3pPr>
            <a:lvl4pPr marL="360000" indent="-180000" algn="l" defTabSz="914400" rtl="0" eaLnBrk="1" latinLnBrk="0" hangingPunct="1">
              <a:lnSpc>
                <a:spcPct val="100000"/>
              </a:lnSpc>
              <a:spcBef>
                <a:spcPts val="0"/>
              </a:spcBef>
              <a:spcAft>
                <a:spcPts val="600"/>
              </a:spcAft>
              <a:buClr>
                <a:schemeClr val="tx1"/>
              </a:buClr>
              <a:buFont typeface="Wingdings" panose="05000000000000000000" pitchFamily="2" charset="2"/>
              <a:buChar char="§"/>
              <a:defRPr sz="1600" kern="1200">
                <a:solidFill>
                  <a:schemeClr val="tx2"/>
                </a:solidFill>
                <a:latin typeface="+mn-lt"/>
                <a:ea typeface="+mn-ea"/>
                <a:cs typeface="+mn-cs"/>
              </a:defRPr>
            </a:lvl4pPr>
            <a:lvl5pPr marL="540000" indent="-180000" algn="l" defTabSz="914400" rtl="0" eaLnBrk="1" latinLnBrk="0" hangingPunct="1">
              <a:lnSpc>
                <a:spcPct val="100000"/>
              </a:lnSpc>
              <a:spcBef>
                <a:spcPts val="0"/>
              </a:spcBef>
              <a:spcAft>
                <a:spcPts val="600"/>
              </a:spcAft>
              <a:buClr>
                <a:schemeClr val="tx1"/>
              </a:buClr>
              <a:buFont typeface="Wingdings" panose="05000000000000000000" pitchFamily="2" charset="2"/>
              <a:buChar char="§"/>
              <a:defRPr sz="1600" kern="1200">
                <a:solidFill>
                  <a:schemeClr val="tx2"/>
                </a:solidFill>
                <a:latin typeface="+mn-lt"/>
                <a:ea typeface="+mn-ea"/>
                <a:cs typeface="+mn-cs"/>
              </a:defRPr>
            </a:lvl5pPr>
            <a:lvl6pPr marL="720000" indent="-180000" algn="l" defTabSz="914400" rtl="0" eaLnBrk="1" latinLnBrk="0" hangingPunct="1">
              <a:lnSpc>
                <a:spcPct val="100000"/>
              </a:lnSpc>
              <a:spcBef>
                <a:spcPts val="0"/>
              </a:spcBef>
              <a:spcAft>
                <a:spcPts val="600"/>
              </a:spcAft>
              <a:buClr>
                <a:schemeClr val="accent3"/>
              </a:buClr>
              <a:buFont typeface="Wingdings" panose="05000000000000000000" pitchFamily="2" charset="2"/>
              <a:buChar char="§"/>
              <a:defRPr sz="1600" kern="1200">
                <a:solidFill>
                  <a:schemeClr val="tx2"/>
                </a:solidFill>
                <a:latin typeface="+mn-lt"/>
                <a:ea typeface="+mn-ea"/>
                <a:cs typeface="+mn-cs"/>
              </a:defRPr>
            </a:lvl6pPr>
            <a:lvl7pPr marL="900000" indent="-180000" algn="l" defTabSz="914400" rtl="0" eaLnBrk="1" latinLnBrk="0" hangingPunct="1">
              <a:lnSpc>
                <a:spcPct val="100000"/>
              </a:lnSpc>
              <a:spcBef>
                <a:spcPts val="0"/>
              </a:spcBef>
              <a:spcAft>
                <a:spcPts val="600"/>
              </a:spcAft>
              <a:buClr>
                <a:schemeClr val="accent3"/>
              </a:buClr>
              <a:buFont typeface="Wingdings" panose="05000000000000000000" pitchFamily="2" charset="2"/>
              <a:buChar char="§"/>
              <a:defRPr sz="1600" kern="1200">
                <a:solidFill>
                  <a:schemeClr val="tx2"/>
                </a:solidFill>
                <a:latin typeface="+mn-lt"/>
                <a:ea typeface="+mn-ea"/>
                <a:cs typeface="+mn-cs"/>
              </a:defRPr>
            </a:lvl7pPr>
            <a:lvl8pPr marL="1080000" indent="-180000" algn="l" defTabSz="914400" rtl="0" eaLnBrk="1" latinLnBrk="0" hangingPunct="1">
              <a:lnSpc>
                <a:spcPct val="100000"/>
              </a:lnSpc>
              <a:spcBef>
                <a:spcPts val="0"/>
              </a:spcBef>
              <a:spcAft>
                <a:spcPts val="600"/>
              </a:spcAft>
              <a:buClr>
                <a:schemeClr val="accent3"/>
              </a:buClr>
              <a:buFont typeface="Wingdings" panose="05000000000000000000" pitchFamily="2" charset="2"/>
              <a:buChar char="§"/>
              <a:defRPr sz="1600" kern="1200">
                <a:solidFill>
                  <a:schemeClr val="tx2"/>
                </a:solidFill>
                <a:latin typeface="+mn-lt"/>
                <a:ea typeface="+mn-ea"/>
                <a:cs typeface="+mn-cs"/>
              </a:defRPr>
            </a:lvl8pPr>
            <a:lvl9pPr marL="1260000" indent="-180000" algn="l" defTabSz="914400" rtl="0" eaLnBrk="1" latinLnBrk="0" hangingPunct="1">
              <a:lnSpc>
                <a:spcPct val="100000"/>
              </a:lnSpc>
              <a:spcBef>
                <a:spcPts val="0"/>
              </a:spcBef>
              <a:spcAft>
                <a:spcPts val="600"/>
              </a:spcAft>
              <a:buClr>
                <a:schemeClr val="accent3"/>
              </a:buClr>
              <a:buFont typeface="Wingdings" panose="05000000000000000000" pitchFamily="2" charset="2"/>
              <a:buChar char="§"/>
              <a:defRPr sz="1600" kern="1200">
                <a:solidFill>
                  <a:schemeClr val="tx2"/>
                </a:solidFill>
                <a:latin typeface="+mn-lt"/>
                <a:ea typeface="+mn-ea"/>
                <a:cs typeface="+mn-cs"/>
              </a:defRPr>
            </a:lvl9pPr>
          </a:lstStyle>
          <a:p>
            <a:r>
              <a:rPr lang="de-DE" sz="1600" b="0" dirty="0"/>
              <a:t>…aber gegen Berufsunfähigkeit nicht ausreichend. </a:t>
            </a:r>
          </a:p>
          <a:p>
            <a:pPr marL="285750" indent="-285750">
              <a:buFont typeface="Arial" panose="020B0604020202020204" pitchFamily="34" charset="0"/>
              <a:buChar char="•"/>
            </a:pPr>
            <a:r>
              <a:rPr lang="de-DE" sz="1600" b="0" dirty="0"/>
              <a:t>Die private BU-Versicherung leistet früher. Die Praxis oder Kanzlei kann gerettet werden.</a:t>
            </a:r>
          </a:p>
          <a:p>
            <a:pPr marL="285750" indent="-285750">
              <a:buFont typeface="Arial" panose="020B0604020202020204" pitchFamily="34" charset="0"/>
              <a:buChar char="•"/>
            </a:pPr>
            <a:r>
              <a:rPr lang="de-DE" sz="1600" b="0" dirty="0"/>
              <a:t>Ich kann die Laufzeit wählen.</a:t>
            </a:r>
          </a:p>
          <a:p>
            <a:pPr marL="285750" indent="-285750">
              <a:buFont typeface="Arial" panose="020B0604020202020204" pitchFamily="34" charset="0"/>
              <a:buChar char="•"/>
            </a:pPr>
            <a:r>
              <a:rPr lang="de-DE" sz="1600" b="0" dirty="0"/>
              <a:t>Ich kann von Beginn an die richtige Höhe wählen.</a:t>
            </a:r>
          </a:p>
          <a:p>
            <a:pPr marL="285750" indent="-285750">
              <a:buFont typeface="Arial" panose="020B0604020202020204" pitchFamily="34" charset="0"/>
              <a:buChar char="•"/>
            </a:pPr>
            <a:r>
              <a:rPr lang="de-DE" sz="1600" b="0" dirty="0"/>
              <a:t>Ich kann sogar über mehrere Versicherungen alle Ausgaben passgenau absichern... </a:t>
            </a:r>
            <a:br>
              <a:rPr lang="de-DE" sz="1600" b="0" dirty="0"/>
            </a:br>
            <a:br>
              <a:rPr lang="de-DE" sz="1600" b="0" dirty="0"/>
            </a:br>
            <a:r>
              <a:rPr lang="de-DE" sz="1600" b="0" dirty="0">
                <a:sym typeface="Wingdings" panose="05000000000000000000" pitchFamily="2" charset="2"/>
              </a:rPr>
              <a:t>DD für die Finanzierung der Praxis oder Key-Person-Risiken, Grundfähigkeits-Versicherung gegen Freizeitrisiken usw.</a:t>
            </a:r>
            <a:endParaRPr lang="de-DE" sz="1600" b="0" dirty="0"/>
          </a:p>
        </p:txBody>
      </p:sp>
    </p:spTree>
    <p:extLst>
      <p:ext uri="{BB962C8B-B14F-4D97-AF65-F5344CB8AC3E}">
        <p14:creationId xmlns:p14="http://schemas.microsoft.com/office/powerpoint/2010/main" val="203148967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a:extLst>
              <a:ext uri="{FF2B5EF4-FFF2-40B4-BE49-F238E27FC236}">
                <a16:creationId xmlns:a16="http://schemas.microsoft.com/office/drawing/2014/main" id="{87A20A7B-A25F-31C1-C9CB-8F4DB4F8099A}"/>
              </a:ext>
            </a:extLst>
          </p:cNvPr>
          <p:cNvSpPr>
            <a:spLocks noGrp="1"/>
          </p:cNvSpPr>
          <p:nvPr>
            <p:ph type="body" sz="quarter" idx="17"/>
          </p:nvPr>
        </p:nvSpPr>
        <p:spPr/>
        <p:txBody>
          <a:bodyPr/>
          <a:lstStyle/>
          <a:p>
            <a:r>
              <a:rPr lang="de-DE" dirty="0"/>
              <a:t>Und was sind die Ausgaben?</a:t>
            </a:r>
          </a:p>
        </p:txBody>
      </p:sp>
      <p:sp>
        <p:nvSpPr>
          <p:cNvPr id="5" name="Titel 4">
            <a:extLst>
              <a:ext uri="{FF2B5EF4-FFF2-40B4-BE49-F238E27FC236}">
                <a16:creationId xmlns:a16="http://schemas.microsoft.com/office/drawing/2014/main" id="{CAED657D-4351-4F1E-89EF-C7696BDB429B}"/>
              </a:ext>
            </a:extLst>
          </p:cNvPr>
          <p:cNvSpPr>
            <a:spLocks noGrp="1"/>
          </p:cNvSpPr>
          <p:nvPr>
            <p:ph type="title" idx="4294967295"/>
          </p:nvPr>
        </p:nvSpPr>
        <p:spPr>
          <a:xfrm>
            <a:off x="0" y="1695450"/>
            <a:ext cx="5935663" cy="3467100"/>
          </a:xfrm>
        </p:spPr>
        <p:txBody>
          <a:bodyPr vert="horz" lIns="91440" tIns="45720" rIns="91440" bIns="45720" rtlCol="0" anchor="b">
            <a:normAutofit/>
          </a:bodyPr>
          <a:lstStyle/>
          <a:p>
            <a:pPr algn="l"/>
            <a:br>
              <a:rPr lang="de-DE" b="1" dirty="0">
                <a:solidFill>
                  <a:srgbClr val="FFFFFF"/>
                </a:solidFill>
              </a:rPr>
            </a:br>
            <a:br>
              <a:rPr lang="de-DE" b="1" dirty="0">
                <a:solidFill>
                  <a:srgbClr val="FFFFFF"/>
                </a:solidFill>
              </a:rPr>
            </a:br>
            <a:endParaRPr lang="en-US" b="1" kern="1200" dirty="0">
              <a:solidFill>
                <a:srgbClr val="FFFFFF"/>
              </a:solidFill>
            </a:endParaRPr>
          </a:p>
        </p:txBody>
      </p:sp>
      <p:pic>
        <p:nvPicPr>
          <p:cNvPr id="7" name="Bildplatzhalter 6" descr="Ein Bild, das Menschliches Gesicht, Person, Kleidung, Lächeln enthält.&#10;&#10;Automatisch generierte Beschreibung">
            <a:extLst>
              <a:ext uri="{FF2B5EF4-FFF2-40B4-BE49-F238E27FC236}">
                <a16:creationId xmlns:a16="http://schemas.microsoft.com/office/drawing/2014/main" id="{FC19730C-F9CE-DEFD-5614-A6039A6F3B16}"/>
              </a:ext>
            </a:extLst>
          </p:cNvPr>
          <p:cNvPicPr>
            <a:picLocks noGrp="1" noChangeAspect="1"/>
          </p:cNvPicPr>
          <p:nvPr>
            <p:ph type="pic" sz="quarter" idx="14"/>
          </p:nvPr>
        </p:nvPicPr>
        <p:blipFill>
          <a:blip r:embed="rId2"/>
          <a:srcRect t="9067" b="9067"/>
          <a:stretch>
            <a:fillRect/>
          </a:stretch>
        </p:blipFill>
        <p:spPr/>
      </p:pic>
    </p:spTree>
    <p:extLst>
      <p:ext uri="{BB962C8B-B14F-4D97-AF65-F5344CB8AC3E}">
        <p14:creationId xmlns:p14="http://schemas.microsoft.com/office/powerpoint/2010/main" val="309294627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500"/>
                                  </p:stCondLst>
                                  <p:iterate>
                                    <p:tmPct val="10000"/>
                                  </p:iterate>
                                  <p:childTnLst>
                                    <p:set>
                                      <p:cBhvr>
                                        <p:cTn id="6" dur="1" fill="hold">
                                          <p:stCondLst>
                                            <p:cond delay="0"/>
                                          </p:stCondLst>
                                        </p:cTn>
                                        <p:tgtEl>
                                          <p:spTgt spid="5"/>
                                        </p:tgtEl>
                                        <p:attrNameLst>
                                          <p:attrName>style.visibility</p:attrName>
                                        </p:attrNameLst>
                                      </p:cBhvr>
                                      <p:to>
                                        <p:strVal val="visible"/>
                                      </p:to>
                                    </p:set>
                                    <p:animEffect transition="in" filter="fade">
                                      <p:cBhvr>
                                        <p:cTn id="7" dur="7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EAC8EA1E-6D47-4E01-8E0A-B5440CE42C0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5" name="Objekt 4" hidden="1">
                        <a:extLst>
                          <a:ext uri="{FF2B5EF4-FFF2-40B4-BE49-F238E27FC236}">
                            <a16:creationId xmlns:a16="http://schemas.microsoft.com/office/drawing/2014/main" id="{EAC8EA1E-6D47-4E01-8E0A-B5440CE42C0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4249AB66-CBBB-43EF-9ADD-D056233717BF}"/>
              </a:ext>
            </a:extLst>
          </p:cNvPr>
          <p:cNvSpPr>
            <a:spLocks noGrp="1"/>
          </p:cNvSpPr>
          <p:nvPr>
            <p:ph type="title"/>
          </p:nvPr>
        </p:nvSpPr>
        <p:spPr>
          <a:xfrm>
            <a:off x="479425" y="739916"/>
            <a:ext cx="11233150" cy="443198"/>
          </a:xfrm>
        </p:spPr>
        <p:txBody>
          <a:bodyPr vert="horz"/>
          <a:lstStyle/>
          <a:p>
            <a:r>
              <a:rPr lang="de-DE" dirty="0"/>
              <a:t>Der Bedarf sind </a:t>
            </a:r>
            <a:r>
              <a:rPr lang="de-DE"/>
              <a:t>Ausgaben…</a:t>
            </a:r>
            <a:endParaRPr lang="de-DE" dirty="0"/>
          </a:p>
        </p:txBody>
      </p:sp>
      <p:sp>
        <p:nvSpPr>
          <p:cNvPr id="10" name="Textplatzhalter 9">
            <a:extLst>
              <a:ext uri="{FF2B5EF4-FFF2-40B4-BE49-F238E27FC236}">
                <a16:creationId xmlns:a16="http://schemas.microsoft.com/office/drawing/2014/main" id="{CE4BC898-CC4E-43C8-8CEF-A9740B265FF4}"/>
              </a:ext>
            </a:extLst>
          </p:cNvPr>
          <p:cNvSpPr>
            <a:spLocks noGrp="1"/>
          </p:cNvSpPr>
          <p:nvPr>
            <p:ph type="body" sz="quarter" idx="12"/>
          </p:nvPr>
        </p:nvSpPr>
        <p:spPr>
          <a:xfrm>
            <a:off x="479425" y="371703"/>
            <a:ext cx="11233150" cy="215444"/>
          </a:xfrm>
        </p:spPr>
        <p:txBody>
          <a:bodyPr/>
          <a:lstStyle/>
          <a:p>
            <a:r>
              <a:rPr lang="de-DE" noProof="0" dirty="0"/>
              <a:t>Wie ermittle ich den Bedarf?</a:t>
            </a:r>
          </a:p>
        </p:txBody>
      </p:sp>
      <p:grpSp>
        <p:nvGrpSpPr>
          <p:cNvPr id="4" name="Gruppieren 3">
            <a:extLst>
              <a:ext uri="{FF2B5EF4-FFF2-40B4-BE49-F238E27FC236}">
                <a16:creationId xmlns:a16="http://schemas.microsoft.com/office/drawing/2014/main" id="{3AD23397-8F54-DD91-34EA-62F95FE54EB2}"/>
              </a:ext>
            </a:extLst>
          </p:cNvPr>
          <p:cNvGrpSpPr/>
          <p:nvPr/>
        </p:nvGrpSpPr>
        <p:grpSpPr>
          <a:xfrm>
            <a:off x="675388" y="1279759"/>
            <a:ext cx="10731925" cy="4661578"/>
            <a:chOff x="-132679" y="1279759"/>
            <a:chExt cx="11539992" cy="4661578"/>
          </a:xfrm>
        </p:grpSpPr>
        <p:sp>
          <p:nvSpPr>
            <p:cNvPr id="7" name="Rechteck 6">
              <a:extLst>
                <a:ext uri="{FF2B5EF4-FFF2-40B4-BE49-F238E27FC236}">
                  <a16:creationId xmlns:a16="http://schemas.microsoft.com/office/drawing/2014/main" id="{F27F80FE-52EE-B1CF-0623-76DF9AB5CD18}"/>
                </a:ext>
              </a:extLst>
            </p:cNvPr>
            <p:cNvSpPr/>
            <p:nvPr/>
          </p:nvSpPr>
          <p:spPr>
            <a:xfrm>
              <a:off x="4062173" y="3736708"/>
              <a:ext cx="7200701" cy="1863322"/>
            </a:xfrm>
            <a:prstGeom prst="rect">
              <a:avLst/>
            </a:prstGeom>
            <a:solidFill>
              <a:srgbClr val="FFFFFF">
                <a:lumMod val="75000"/>
              </a:srgbClr>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FFFFFF"/>
                </a:solidFill>
                <a:effectLst/>
                <a:uLnTx/>
                <a:uFillTx/>
                <a:latin typeface="PT Sans"/>
                <a:ea typeface="+mn-ea"/>
                <a:cs typeface="+mn-cs"/>
              </a:endParaRPr>
            </a:p>
          </p:txBody>
        </p:sp>
        <p:sp>
          <p:nvSpPr>
            <p:cNvPr id="8" name="Rechteck 7">
              <a:extLst>
                <a:ext uri="{FF2B5EF4-FFF2-40B4-BE49-F238E27FC236}">
                  <a16:creationId xmlns:a16="http://schemas.microsoft.com/office/drawing/2014/main" id="{27D48A0C-45D7-EE88-904F-98EF628E1000}"/>
                </a:ext>
              </a:extLst>
            </p:cNvPr>
            <p:cNvSpPr/>
            <p:nvPr/>
          </p:nvSpPr>
          <p:spPr bwMode="auto">
            <a:xfrm>
              <a:off x="2858905" y="1887311"/>
              <a:ext cx="4894443" cy="202061"/>
            </a:xfrm>
            <a:prstGeom prst="rect">
              <a:avLst/>
            </a:prstGeom>
            <a:solidFill>
              <a:srgbClr val="FFFFFF">
                <a:lumMod val="75000"/>
              </a:srgbClr>
            </a:solidFill>
            <a:ln w="12700" algn="ctr">
              <a:noFill/>
              <a:miter lim="800000"/>
              <a:headEnd/>
              <a:tailEnd/>
            </a:ln>
          </p:spPr>
          <p:txBody>
            <a:bodyPr wrap="square" lIns="0" tIns="0" rIns="0" bIns="0" rtlCol="0" anchor="ctr">
              <a:spAutoFit/>
            </a:bodyPr>
            <a:lstStyle/>
            <a:p>
              <a:pPr marL="173038" marR="0" lvl="0" indent="-180000" algn="ctr" defTabSz="762000" rtl="0" eaLnBrk="0" fontAlgn="auto" latinLnBrk="0" hangingPunct="0">
                <a:lnSpc>
                  <a:spcPct val="100000"/>
                </a:lnSpc>
                <a:spcBef>
                  <a:spcPct val="30000"/>
                </a:spcBef>
                <a:spcAft>
                  <a:spcPts val="0"/>
                </a:spcAft>
                <a:buClr>
                  <a:srgbClr val="2F4D72"/>
                </a:buClr>
                <a:buSzTx/>
                <a:buFont typeface="Arial" panose="020B0604020202020204" pitchFamily="34" charset="0"/>
                <a:buChar char="•"/>
                <a:tabLst/>
                <a:defRPr/>
              </a:pPr>
              <a:endParaRPr kumimoji="0" lang="de-DE" sz="1200" b="0" i="0" u="none" strike="noStrike" kern="0" cap="none" spc="0" normalizeH="0" baseline="0" noProof="0" dirty="0">
                <a:ln>
                  <a:noFill/>
                </a:ln>
                <a:solidFill>
                  <a:srgbClr val="000000">
                    <a:lumMod val="75000"/>
                    <a:lumOff val="25000"/>
                  </a:srgbClr>
                </a:solidFill>
                <a:effectLst/>
                <a:uLnTx/>
                <a:uFillTx/>
                <a:latin typeface="PT Sans"/>
                <a:ea typeface="+mn-ea"/>
                <a:cs typeface="+mn-cs"/>
              </a:endParaRPr>
            </a:p>
          </p:txBody>
        </p:sp>
        <p:sp>
          <p:nvSpPr>
            <p:cNvPr id="11" name="Rechteck 10">
              <a:extLst>
                <a:ext uri="{FF2B5EF4-FFF2-40B4-BE49-F238E27FC236}">
                  <a16:creationId xmlns:a16="http://schemas.microsoft.com/office/drawing/2014/main" id="{153CF57B-3C7F-C4CF-A33E-5B400EB293A9}"/>
                </a:ext>
              </a:extLst>
            </p:cNvPr>
            <p:cNvSpPr/>
            <p:nvPr/>
          </p:nvSpPr>
          <p:spPr bwMode="auto">
            <a:xfrm>
              <a:off x="2438967" y="2086874"/>
              <a:ext cx="5314378" cy="324000"/>
            </a:xfrm>
            <a:prstGeom prst="rect">
              <a:avLst/>
            </a:prstGeom>
            <a:solidFill>
              <a:srgbClr val="FFFFFF">
                <a:lumMod val="75000"/>
              </a:srgbClr>
            </a:solidFill>
            <a:ln w="12700" algn="ctr">
              <a:noFill/>
              <a:miter lim="800000"/>
              <a:headEnd/>
              <a:tailEnd/>
            </a:ln>
          </p:spPr>
          <p:txBody>
            <a:bodyPr wrap="square" lIns="0" tIns="0" rIns="0" bIns="0" rtlCol="0" anchor="ctr">
              <a:spAutoFit/>
            </a:bodyPr>
            <a:lstStyle/>
            <a:p>
              <a:pPr marL="173038" marR="0" lvl="0" indent="-180000" algn="ctr" defTabSz="762000" rtl="0" eaLnBrk="0" fontAlgn="auto" latinLnBrk="0" hangingPunct="0">
                <a:lnSpc>
                  <a:spcPct val="100000"/>
                </a:lnSpc>
                <a:spcBef>
                  <a:spcPct val="30000"/>
                </a:spcBef>
                <a:spcAft>
                  <a:spcPts val="0"/>
                </a:spcAft>
                <a:buClr>
                  <a:srgbClr val="2F4D72"/>
                </a:buClr>
                <a:buSzTx/>
                <a:buFont typeface="Arial" panose="020B0604020202020204" pitchFamily="34" charset="0"/>
                <a:buChar char="•"/>
                <a:tabLst/>
                <a:defRPr/>
              </a:pPr>
              <a:endParaRPr kumimoji="0" lang="de-DE" sz="1200" b="0" i="0" u="none" strike="noStrike" kern="0" cap="none" spc="0" normalizeH="0" baseline="0" noProof="0" dirty="0">
                <a:ln>
                  <a:noFill/>
                </a:ln>
                <a:solidFill>
                  <a:srgbClr val="000000">
                    <a:lumMod val="75000"/>
                    <a:lumOff val="25000"/>
                  </a:srgbClr>
                </a:solidFill>
                <a:effectLst/>
                <a:uLnTx/>
                <a:uFillTx/>
                <a:latin typeface="PT Sans"/>
                <a:ea typeface="+mn-ea"/>
                <a:cs typeface="+mn-cs"/>
              </a:endParaRPr>
            </a:p>
          </p:txBody>
        </p:sp>
        <p:sp>
          <p:nvSpPr>
            <p:cNvPr id="12" name="Rechteck 11">
              <a:extLst>
                <a:ext uri="{FF2B5EF4-FFF2-40B4-BE49-F238E27FC236}">
                  <a16:creationId xmlns:a16="http://schemas.microsoft.com/office/drawing/2014/main" id="{CA9FC294-C69E-9D10-D12F-6111FC424632}"/>
                </a:ext>
              </a:extLst>
            </p:cNvPr>
            <p:cNvSpPr/>
            <p:nvPr/>
          </p:nvSpPr>
          <p:spPr bwMode="auto">
            <a:xfrm>
              <a:off x="1584088" y="2292472"/>
              <a:ext cx="6169258" cy="360000"/>
            </a:xfrm>
            <a:prstGeom prst="rect">
              <a:avLst/>
            </a:prstGeom>
            <a:solidFill>
              <a:srgbClr val="FFFFFF">
                <a:lumMod val="75000"/>
              </a:srgbClr>
            </a:solidFill>
            <a:ln w="12700" algn="ctr">
              <a:noFill/>
              <a:miter lim="800000"/>
              <a:headEnd/>
              <a:tailEnd/>
            </a:ln>
          </p:spPr>
          <p:txBody>
            <a:bodyPr wrap="square" lIns="0" tIns="0" rIns="0" bIns="0" rtlCol="0" anchor="ctr">
              <a:spAutoFit/>
            </a:bodyPr>
            <a:lstStyle/>
            <a:p>
              <a:pPr marL="173038" marR="0" lvl="0" indent="-180000" algn="ctr" defTabSz="762000" rtl="0" eaLnBrk="0" fontAlgn="auto" latinLnBrk="0" hangingPunct="0">
                <a:lnSpc>
                  <a:spcPct val="100000"/>
                </a:lnSpc>
                <a:spcBef>
                  <a:spcPct val="30000"/>
                </a:spcBef>
                <a:spcAft>
                  <a:spcPts val="0"/>
                </a:spcAft>
                <a:buClr>
                  <a:srgbClr val="2F4D72"/>
                </a:buClr>
                <a:buSzTx/>
                <a:buFont typeface="Arial" panose="020B0604020202020204" pitchFamily="34" charset="0"/>
                <a:buChar char="•"/>
                <a:tabLst/>
                <a:defRPr/>
              </a:pPr>
              <a:endParaRPr kumimoji="0" lang="de-DE" sz="1200" b="0" i="0" u="none" strike="noStrike" kern="0" cap="none" spc="0" normalizeH="0" baseline="0" noProof="0" dirty="0">
                <a:ln>
                  <a:noFill/>
                </a:ln>
                <a:solidFill>
                  <a:srgbClr val="000000">
                    <a:lumMod val="75000"/>
                    <a:lumOff val="25000"/>
                  </a:srgbClr>
                </a:solidFill>
                <a:effectLst/>
                <a:uLnTx/>
                <a:uFillTx/>
                <a:latin typeface="PT Sans"/>
                <a:ea typeface="+mn-ea"/>
                <a:cs typeface="+mn-cs"/>
              </a:endParaRPr>
            </a:p>
          </p:txBody>
        </p:sp>
        <p:sp>
          <p:nvSpPr>
            <p:cNvPr id="13" name="Untertitel 2">
              <a:extLst>
                <a:ext uri="{FF2B5EF4-FFF2-40B4-BE49-F238E27FC236}">
                  <a16:creationId xmlns:a16="http://schemas.microsoft.com/office/drawing/2014/main" id="{F31EE404-6291-F285-5E81-6A4482A4D7C8}"/>
                </a:ext>
              </a:extLst>
            </p:cNvPr>
            <p:cNvSpPr txBox="1">
              <a:spLocks/>
            </p:cNvSpPr>
            <p:nvPr/>
          </p:nvSpPr>
          <p:spPr>
            <a:xfrm>
              <a:off x="1021493" y="3214860"/>
              <a:ext cx="9144000" cy="1655762"/>
            </a:xfrm>
          </p:spPr>
          <p:txBody>
            <a:bodyPr/>
            <a:lstStyle>
              <a:lvl1pPr marL="0" indent="0" algn="ctr" defTabSz="1219170" rtl="0" eaLnBrk="1" latinLnBrk="0" hangingPunct="1">
                <a:spcBef>
                  <a:spcPct val="20000"/>
                </a:spcBef>
                <a:buFont typeface="Arial" panose="020B0604020202020204" pitchFamily="34" charset="0"/>
                <a:buNone/>
                <a:defRPr lang="de-DE" sz="2400" kern="1200">
                  <a:solidFill>
                    <a:schemeClr val="accent2"/>
                  </a:solidFill>
                  <a:latin typeface="+mn-lt"/>
                  <a:ea typeface="+mn-ea"/>
                  <a:cs typeface="+mn-cs"/>
                </a:defRPr>
              </a:lvl1pPr>
              <a:lvl2pPr marL="457200" indent="0" algn="ctr" defTabSz="1219170" rtl="0" eaLnBrk="1" latinLnBrk="0" hangingPunct="1">
                <a:spcBef>
                  <a:spcPct val="20000"/>
                </a:spcBef>
                <a:buFont typeface="Arial" panose="020B0604020202020204" pitchFamily="34" charset="0"/>
                <a:buNone/>
                <a:defRPr lang="de-DE" sz="2000" kern="1200" baseline="0">
                  <a:solidFill>
                    <a:schemeClr val="accent2"/>
                  </a:solidFill>
                  <a:latin typeface="+mn-lt"/>
                  <a:ea typeface="+mn-ea"/>
                  <a:cs typeface="+mn-cs"/>
                </a:defRPr>
              </a:lvl2pPr>
              <a:lvl3pPr marL="914400" indent="0" algn="ctr" defTabSz="1219170" rtl="0" eaLnBrk="1" latinLnBrk="0" hangingPunct="1">
                <a:spcBef>
                  <a:spcPct val="20000"/>
                </a:spcBef>
                <a:buFont typeface="Arial" panose="020B0604020202020204" pitchFamily="34" charset="0"/>
                <a:buNone/>
                <a:defRPr lang="de-DE" sz="1800" kern="1200" baseline="0">
                  <a:solidFill>
                    <a:schemeClr val="accent2"/>
                  </a:solidFill>
                  <a:effectLst/>
                  <a:latin typeface="+mn-lt"/>
                  <a:ea typeface="+mn-ea"/>
                  <a:cs typeface="+mn-cs"/>
                </a:defRPr>
              </a:lvl3pPr>
              <a:lvl4pPr marL="1371600" indent="0" algn="ctr" defTabSz="1219170" rtl="0" eaLnBrk="1" latinLnBrk="0" hangingPunct="1">
                <a:spcBef>
                  <a:spcPct val="20000"/>
                </a:spcBef>
                <a:buFont typeface="Arial" panose="020B0604020202020204" pitchFamily="34" charset="0"/>
                <a:buNone/>
                <a:defRPr sz="1600" kern="1200">
                  <a:solidFill>
                    <a:schemeClr val="tx1"/>
                  </a:solidFill>
                  <a:latin typeface="+mn-lt"/>
                  <a:ea typeface="+mn-ea"/>
                  <a:cs typeface="+mn-cs"/>
                </a:defRPr>
              </a:lvl4pPr>
              <a:lvl5pPr marL="1828800" indent="0" algn="ctr" defTabSz="1219170" rtl="0" eaLnBrk="1" latinLnBrk="0" hangingPunct="1">
                <a:spcBef>
                  <a:spcPct val="20000"/>
                </a:spcBef>
                <a:buFont typeface="Arial" panose="020B0604020202020204" pitchFamily="34" charset="0"/>
                <a:buNone/>
                <a:defRPr sz="1600" kern="1200">
                  <a:solidFill>
                    <a:schemeClr val="tx1"/>
                  </a:solidFill>
                  <a:latin typeface="+mn-lt"/>
                  <a:ea typeface="+mn-ea"/>
                  <a:cs typeface="+mn-cs"/>
                </a:defRPr>
              </a:lvl5pPr>
              <a:lvl6pPr marL="2286000" indent="0" algn="ctr" defTabSz="1219170" rtl="0" eaLnBrk="1" latinLnBrk="0" hangingPunct="1">
                <a:spcBef>
                  <a:spcPct val="20000"/>
                </a:spcBef>
                <a:buFont typeface="Arial" panose="020B0604020202020204" pitchFamily="34" charset="0"/>
                <a:buNone/>
                <a:defRPr sz="1600" kern="1200">
                  <a:solidFill>
                    <a:schemeClr val="tx1"/>
                  </a:solidFill>
                  <a:latin typeface="+mn-lt"/>
                  <a:ea typeface="+mn-ea"/>
                  <a:cs typeface="+mn-cs"/>
                </a:defRPr>
              </a:lvl6pPr>
              <a:lvl7pPr marL="2743200" indent="0" algn="ctr" defTabSz="1219170" rtl="0" eaLnBrk="1" latinLnBrk="0" hangingPunct="1">
                <a:spcBef>
                  <a:spcPct val="20000"/>
                </a:spcBef>
                <a:buFont typeface="Arial" panose="020B0604020202020204" pitchFamily="34" charset="0"/>
                <a:buNone/>
                <a:defRPr sz="1600" kern="1200">
                  <a:solidFill>
                    <a:schemeClr val="tx1"/>
                  </a:solidFill>
                  <a:latin typeface="+mn-lt"/>
                  <a:ea typeface="+mn-ea"/>
                  <a:cs typeface="+mn-cs"/>
                </a:defRPr>
              </a:lvl7pPr>
              <a:lvl8pPr marL="3200400" indent="0" algn="ctr" defTabSz="1219170" rtl="0" eaLnBrk="1" latinLnBrk="0" hangingPunct="1">
                <a:spcBef>
                  <a:spcPct val="20000"/>
                </a:spcBef>
                <a:buFont typeface="Arial" panose="020B0604020202020204" pitchFamily="34" charset="0"/>
                <a:buNone/>
                <a:defRPr sz="1600" kern="1200">
                  <a:solidFill>
                    <a:schemeClr val="tx1"/>
                  </a:solidFill>
                  <a:latin typeface="+mn-lt"/>
                  <a:ea typeface="+mn-ea"/>
                  <a:cs typeface="+mn-cs"/>
                </a:defRPr>
              </a:lvl8pPr>
              <a:lvl9pPr marL="3657600" indent="0" algn="ctr" defTabSz="1219170" rtl="0" eaLnBrk="1" latinLnBrk="0" hangingPunct="1">
                <a:spcBef>
                  <a:spcPct val="20000"/>
                </a:spcBef>
                <a:buFont typeface="Arial" panose="020B0604020202020204" pitchFamily="34" charset="0"/>
                <a:buNone/>
                <a:defRPr sz="1600" kern="1200">
                  <a:solidFill>
                    <a:schemeClr val="tx1"/>
                  </a:solidFill>
                  <a:latin typeface="+mn-lt"/>
                  <a:ea typeface="+mn-ea"/>
                  <a:cs typeface="+mn-cs"/>
                </a:defRPr>
              </a:lvl9pPr>
            </a:lstStyle>
            <a:p>
              <a:pPr marL="0" marR="0" lvl="0" indent="0" algn="ctr" defTabSz="1219170" rtl="0" eaLnBrk="1" fontAlgn="auto" latinLnBrk="0" hangingPunct="1">
                <a:lnSpc>
                  <a:spcPct val="100000"/>
                </a:lnSpc>
                <a:spcBef>
                  <a:spcPct val="20000"/>
                </a:spcBef>
                <a:spcAft>
                  <a:spcPts val="0"/>
                </a:spcAft>
                <a:buClrTx/>
                <a:buSzTx/>
                <a:buFont typeface="Arial" panose="020B0604020202020204" pitchFamily="34" charset="0"/>
                <a:buNone/>
                <a:tabLst/>
                <a:defRPr/>
              </a:pPr>
              <a:endParaRPr kumimoji="0" lang="de-DE" sz="2400" b="0" i="0" u="none" strike="noStrike" kern="1200" cap="none" spc="0" normalizeH="0" baseline="0" noProof="0" dirty="0">
                <a:ln>
                  <a:noFill/>
                </a:ln>
                <a:solidFill>
                  <a:srgbClr val="000000"/>
                </a:solidFill>
                <a:effectLst/>
                <a:uLnTx/>
                <a:uFillTx/>
                <a:latin typeface="PT Sans"/>
                <a:ea typeface="+mn-ea"/>
                <a:cs typeface="+mn-cs"/>
              </a:endParaRPr>
            </a:p>
          </p:txBody>
        </p:sp>
        <p:sp>
          <p:nvSpPr>
            <p:cNvPr id="14" name="Rechteck 13">
              <a:extLst>
                <a:ext uri="{FF2B5EF4-FFF2-40B4-BE49-F238E27FC236}">
                  <a16:creationId xmlns:a16="http://schemas.microsoft.com/office/drawing/2014/main" id="{6D3E2360-5113-1C6D-E10A-F344169F067E}"/>
                </a:ext>
              </a:extLst>
            </p:cNvPr>
            <p:cNvSpPr/>
            <p:nvPr/>
          </p:nvSpPr>
          <p:spPr>
            <a:xfrm>
              <a:off x="552641" y="2503246"/>
              <a:ext cx="7200701" cy="3090325"/>
            </a:xfrm>
            <a:prstGeom prst="rect">
              <a:avLst/>
            </a:prstGeom>
            <a:solidFill>
              <a:srgbClr val="FFFFFF">
                <a:lumMod val="75000"/>
              </a:srgbClr>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FFFFFF"/>
                </a:solidFill>
                <a:effectLst/>
                <a:uLnTx/>
                <a:uFillTx/>
                <a:latin typeface="PT Sans"/>
                <a:ea typeface="+mn-ea"/>
                <a:cs typeface="+mn-cs"/>
              </a:endParaRPr>
            </a:p>
          </p:txBody>
        </p:sp>
        <p:cxnSp>
          <p:nvCxnSpPr>
            <p:cNvPr id="15" name="Gerader Verbinder 14">
              <a:extLst>
                <a:ext uri="{FF2B5EF4-FFF2-40B4-BE49-F238E27FC236}">
                  <a16:creationId xmlns:a16="http://schemas.microsoft.com/office/drawing/2014/main" id="{D24B36EC-EEFF-C6BC-F7E7-2DBE6DB17F8B}"/>
                </a:ext>
              </a:extLst>
            </p:cNvPr>
            <p:cNvCxnSpPr/>
            <p:nvPr/>
          </p:nvCxnSpPr>
          <p:spPr>
            <a:xfrm>
              <a:off x="1276352" y="5609787"/>
              <a:ext cx="0" cy="114301"/>
            </a:xfrm>
            <a:prstGeom prst="line">
              <a:avLst/>
            </a:prstGeom>
            <a:noFill/>
            <a:ln w="38100" cap="flat" cmpd="sng" algn="ctr">
              <a:solidFill>
                <a:srgbClr val="FFFFFF">
                  <a:lumMod val="50000"/>
                </a:srgbClr>
              </a:solidFill>
              <a:prstDash val="solid"/>
            </a:ln>
            <a:effectLst/>
          </p:spPr>
        </p:cxnSp>
        <p:cxnSp>
          <p:nvCxnSpPr>
            <p:cNvPr id="16" name="Gerader Verbinder 15">
              <a:extLst>
                <a:ext uri="{FF2B5EF4-FFF2-40B4-BE49-F238E27FC236}">
                  <a16:creationId xmlns:a16="http://schemas.microsoft.com/office/drawing/2014/main" id="{1B137840-8E90-21EA-783B-A9951BE48843}"/>
                </a:ext>
              </a:extLst>
            </p:cNvPr>
            <p:cNvCxnSpPr>
              <a:cxnSpLocks/>
            </p:cNvCxnSpPr>
            <p:nvPr/>
          </p:nvCxnSpPr>
          <p:spPr>
            <a:xfrm>
              <a:off x="2000252" y="5611074"/>
              <a:ext cx="0" cy="114301"/>
            </a:xfrm>
            <a:prstGeom prst="line">
              <a:avLst/>
            </a:prstGeom>
            <a:noFill/>
            <a:ln w="38100" cap="flat" cmpd="sng" algn="ctr">
              <a:solidFill>
                <a:srgbClr val="FFFFFF">
                  <a:lumMod val="50000"/>
                </a:srgbClr>
              </a:solidFill>
              <a:prstDash val="solid"/>
            </a:ln>
            <a:effectLst/>
          </p:spPr>
        </p:cxnSp>
        <p:cxnSp>
          <p:nvCxnSpPr>
            <p:cNvPr id="17" name="Gerader Verbinder 16">
              <a:extLst>
                <a:ext uri="{FF2B5EF4-FFF2-40B4-BE49-F238E27FC236}">
                  <a16:creationId xmlns:a16="http://schemas.microsoft.com/office/drawing/2014/main" id="{71DD85CC-DBD5-0886-D8AD-2D27E7026ABD}"/>
                </a:ext>
              </a:extLst>
            </p:cNvPr>
            <p:cNvCxnSpPr>
              <a:cxnSpLocks/>
            </p:cNvCxnSpPr>
            <p:nvPr/>
          </p:nvCxnSpPr>
          <p:spPr>
            <a:xfrm>
              <a:off x="2714627" y="5611074"/>
              <a:ext cx="0" cy="114301"/>
            </a:xfrm>
            <a:prstGeom prst="line">
              <a:avLst/>
            </a:prstGeom>
            <a:noFill/>
            <a:ln w="38100" cap="flat" cmpd="sng" algn="ctr">
              <a:solidFill>
                <a:srgbClr val="FFFFFF">
                  <a:lumMod val="50000"/>
                </a:srgbClr>
              </a:solidFill>
              <a:prstDash val="solid"/>
            </a:ln>
            <a:effectLst/>
          </p:spPr>
        </p:cxnSp>
        <p:cxnSp>
          <p:nvCxnSpPr>
            <p:cNvPr id="18" name="Gerader Verbinder 17">
              <a:extLst>
                <a:ext uri="{FF2B5EF4-FFF2-40B4-BE49-F238E27FC236}">
                  <a16:creationId xmlns:a16="http://schemas.microsoft.com/office/drawing/2014/main" id="{4AC282F0-B7BE-B07E-82EF-441AD09E8104}"/>
                </a:ext>
              </a:extLst>
            </p:cNvPr>
            <p:cNvCxnSpPr>
              <a:cxnSpLocks/>
            </p:cNvCxnSpPr>
            <p:nvPr/>
          </p:nvCxnSpPr>
          <p:spPr>
            <a:xfrm>
              <a:off x="3438527" y="5609787"/>
              <a:ext cx="0" cy="114301"/>
            </a:xfrm>
            <a:prstGeom prst="line">
              <a:avLst/>
            </a:prstGeom>
            <a:noFill/>
            <a:ln w="38100" cap="flat" cmpd="sng" algn="ctr">
              <a:solidFill>
                <a:srgbClr val="FFFFFF">
                  <a:lumMod val="50000"/>
                </a:srgbClr>
              </a:solidFill>
              <a:prstDash val="solid"/>
            </a:ln>
            <a:effectLst/>
          </p:spPr>
        </p:cxnSp>
        <p:cxnSp>
          <p:nvCxnSpPr>
            <p:cNvPr id="19" name="Gerader Verbinder 18">
              <a:extLst>
                <a:ext uri="{FF2B5EF4-FFF2-40B4-BE49-F238E27FC236}">
                  <a16:creationId xmlns:a16="http://schemas.microsoft.com/office/drawing/2014/main" id="{586B8285-C2DE-8A38-34DE-B3B7F4134437}"/>
                </a:ext>
              </a:extLst>
            </p:cNvPr>
            <p:cNvCxnSpPr>
              <a:cxnSpLocks/>
            </p:cNvCxnSpPr>
            <p:nvPr/>
          </p:nvCxnSpPr>
          <p:spPr>
            <a:xfrm>
              <a:off x="4143377" y="5609787"/>
              <a:ext cx="0" cy="114301"/>
            </a:xfrm>
            <a:prstGeom prst="line">
              <a:avLst/>
            </a:prstGeom>
            <a:noFill/>
            <a:ln w="38100" cap="flat" cmpd="sng" algn="ctr">
              <a:solidFill>
                <a:srgbClr val="FFFFFF">
                  <a:lumMod val="50000"/>
                </a:srgbClr>
              </a:solidFill>
              <a:prstDash val="solid"/>
            </a:ln>
            <a:effectLst/>
          </p:spPr>
        </p:cxnSp>
        <p:cxnSp>
          <p:nvCxnSpPr>
            <p:cNvPr id="20" name="Gerader Verbinder 19">
              <a:extLst>
                <a:ext uri="{FF2B5EF4-FFF2-40B4-BE49-F238E27FC236}">
                  <a16:creationId xmlns:a16="http://schemas.microsoft.com/office/drawing/2014/main" id="{D3E268DD-B9DD-43BF-058B-813ECB6F96B2}"/>
                </a:ext>
              </a:extLst>
            </p:cNvPr>
            <p:cNvCxnSpPr>
              <a:cxnSpLocks/>
            </p:cNvCxnSpPr>
            <p:nvPr/>
          </p:nvCxnSpPr>
          <p:spPr>
            <a:xfrm>
              <a:off x="4876802" y="5609787"/>
              <a:ext cx="0" cy="114301"/>
            </a:xfrm>
            <a:prstGeom prst="line">
              <a:avLst/>
            </a:prstGeom>
            <a:noFill/>
            <a:ln w="38100" cap="flat" cmpd="sng" algn="ctr">
              <a:solidFill>
                <a:srgbClr val="FFFFFF">
                  <a:lumMod val="50000"/>
                </a:srgbClr>
              </a:solidFill>
              <a:prstDash val="solid"/>
            </a:ln>
            <a:effectLst/>
          </p:spPr>
        </p:cxnSp>
        <p:cxnSp>
          <p:nvCxnSpPr>
            <p:cNvPr id="21" name="Gerader Verbinder 20">
              <a:extLst>
                <a:ext uri="{FF2B5EF4-FFF2-40B4-BE49-F238E27FC236}">
                  <a16:creationId xmlns:a16="http://schemas.microsoft.com/office/drawing/2014/main" id="{CC6EF3B1-AFD9-1AF0-0FC7-1A35C2C096B1}"/>
                </a:ext>
              </a:extLst>
            </p:cNvPr>
            <p:cNvCxnSpPr>
              <a:cxnSpLocks/>
            </p:cNvCxnSpPr>
            <p:nvPr/>
          </p:nvCxnSpPr>
          <p:spPr>
            <a:xfrm>
              <a:off x="5600702" y="5611074"/>
              <a:ext cx="0" cy="114301"/>
            </a:xfrm>
            <a:prstGeom prst="line">
              <a:avLst/>
            </a:prstGeom>
            <a:noFill/>
            <a:ln w="38100" cap="flat" cmpd="sng" algn="ctr">
              <a:solidFill>
                <a:srgbClr val="FFFFFF">
                  <a:lumMod val="50000"/>
                </a:srgbClr>
              </a:solidFill>
              <a:prstDash val="solid"/>
            </a:ln>
            <a:effectLst/>
          </p:spPr>
        </p:cxnSp>
        <p:cxnSp>
          <p:nvCxnSpPr>
            <p:cNvPr id="22" name="Gerader Verbinder 21">
              <a:extLst>
                <a:ext uri="{FF2B5EF4-FFF2-40B4-BE49-F238E27FC236}">
                  <a16:creationId xmlns:a16="http://schemas.microsoft.com/office/drawing/2014/main" id="{4AD9DA95-461A-9C10-3D3C-655C3A0CA389}"/>
                </a:ext>
              </a:extLst>
            </p:cNvPr>
            <p:cNvCxnSpPr>
              <a:cxnSpLocks/>
            </p:cNvCxnSpPr>
            <p:nvPr/>
          </p:nvCxnSpPr>
          <p:spPr>
            <a:xfrm>
              <a:off x="6324602" y="5611074"/>
              <a:ext cx="0" cy="114301"/>
            </a:xfrm>
            <a:prstGeom prst="line">
              <a:avLst/>
            </a:prstGeom>
            <a:noFill/>
            <a:ln w="38100" cap="flat" cmpd="sng" algn="ctr">
              <a:solidFill>
                <a:srgbClr val="FFFFFF">
                  <a:lumMod val="50000"/>
                </a:srgbClr>
              </a:solidFill>
              <a:prstDash val="solid"/>
            </a:ln>
            <a:effectLst/>
          </p:spPr>
        </p:cxnSp>
        <p:cxnSp>
          <p:nvCxnSpPr>
            <p:cNvPr id="23" name="Gerader Verbinder 22">
              <a:extLst>
                <a:ext uri="{FF2B5EF4-FFF2-40B4-BE49-F238E27FC236}">
                  <a16:creationId xmlns:a16="http://schemas.microsoft.com/office/drawing/2014/main" id="{56E22226-788B-2655-2795-BC7AAABB4B28}"/>
                </a:ext>
              </a:extLst>
            </p:cNvPr>
            <p:cNvCxnSpPr>
              <a:cxnSpLocks/>
            </p:cNvCxnSpPr>
            <p:nvPr/>
          </p:nvCxnSpPr>
          <p:spPr>
            <a:xfrm>
              <a:off x="7038977" y="5611074"/>
              <a:ext cx="0" cy="114301"/>
            </a:xfrm>
            <a:prstGeom prst="line">
              <a:avLst/>
            </a:prstGeom>
            <a:noFill/>
            <a:ln w="38100" cap="flat" cmpd="sng" algn="ctr">
              <a:solidFill>
                <a:srgbClr val="FFFFFF">
                  <a:lumMod val="50000"/>
                </a:srgbClr>
              </a:solidFill>
              <a:prstDash val="solid"/>
            </a:ln>
            <a:effectLst/>
          </p:spPr>
        </p:cxnSp>
        <p:cxnSp>
          <p:nvCxnSpPr>
            <p:cNvPr id="24" name="Gerader Verbinder 23">
              <a:extLst>
                <a:ext uri="{FF2B5EF4-FFF2-40B4-BE49-F238E27FC236}">
                  <a16:creationId xmlns:a16="http://schemas.microsoft.com/office/drawing/2014/main" id="{83A4EE50-DB5F-6DB6-DB55-149A6708011C}"/>
                </a:ext>
              </a:extLst>
            </p:cNvPr>
            <p:cNvCxnSpPr>
              <a:cxnSpLocks/>
            </p:cNvCxnSpPr>
            <p:nvPr/>
          </p:nvCxnSpPr>
          <p:spPr>
            <a:xfrm>
              <a:off x="7753352" y="5611074"/>
              <a:ext cx="0" cy="114301"/>
            </a:xfrm>
            <a:prstGeom prst="line">
              <a:avLst/>
            </a:prstGeom>
            <a:noFill/>
            <a:ln w="38100" cap="flat" cmpd="sng" algn="ctr">
              <a:solidFill>
                <a:srgbClr val="FFFFFF">
                  <a:lumMod val="50000"/>
                </a:srgbClr>
              </a:solidFill>
              <a:prstDash val="solid"/>
            </a:ln>
            <a:effectLst/>
          </p:spPr>
        </p:cxnSp>
        <p:cxnSp>
          <p:nvCxnSpPr>
            <p:cNvPr id="25" name="Gerader Verbinder 24">
              <a:extLst>
                <a:ext uri="{FF2B5EF4-FFF2-40B4-BE49-F238E27FC236}">
                  <a16:creationId xmlns:a16="http://schemas.microsoft.com/office/drawing/2014/main" id="{8B870CFF-83B9-7326-C13A-C6E1D782F722}"/>
                </a:ext>
              </a:extLst>
            </p:cNvPr>
            <p:cNvCxnSpPr>
              <a:cxnSpLocks/>
            </p:cNvCxnSpPr>
            <p:nvPr/>
          </p:nvCxnSpPr>
          <p:spPr>
            <a:xfrm>
              <a:off x="8477252" y="5611074"/>
              <a:ext cx="0" cy="114301"/>
            </a:xfrm>
            <a:prstGeom prst="line">
              <a:avLst/>
            </a:prstGeom>
            <a:noFill/>
            <a:ln w="38100" cap="flat" cmpd="sng" algn="ctr">
              <a:solidFill>
                <a:srgbClr val="FFFFFF">
                  <a:lumMod val="50000"/>
                </a:srgbClr>
              </a:solidFill>
              <a:prstDash val="solid"/>
            </a:ln>
            <a:effectLst/>
          </p:spPr>
        </p:cxnSp>
        <p:cxnSp>
          <p:nvCxnSpPr>
            <p:cNvPr id="26" name="Gerader Verbinder 25">
              <a:extLst>
                <a:ext uri="{FF2B5EF4-FFF2-40B4-BE49-F238E27FC236}">
                  <a16:creationId xmlns:a16="http://schemas.microsoft.com/office/drawing/2014/main" id="{3069AA56-9688-B6C5-CE41-1650FADBDF80}"/>
                </a:ext>
              </a:extLst>
            </p:cNvPr>
            <p:cNvCxnSpPr>
              <a:cxnSpLocks/>
            </p:cNvCxnSpPr>
            <p:nvPr/>
          </p:nvCxnSpPr>
          <p:spPr>
            <a:xfrm>
              <a:off x="9201152" y="5611074"/>
              <a:ext cx="0" cy="114301"/>
            </a:xfrm>
            <a:prstGeom prst="line">
              <a:avLst/>
            </a:prstGeom>
            <a:noFill/>
            <a:ln w="38100" cap="flat" cmpd="sng" algn="ctr">
              <a:solidFill>
                <a:srgbClr val="FFFFFF">
                  <a:lumMod val="50000"/>
                </a:srgbClr>
              </a:solidFill>
              <a:prstDash val="solid"/>
            </a:ln>
            <a:effectLst/>
          </p:spPr>
        </p:cxnSp>
        <p:sp>
          <p:nvSpPr>
            <p:cNvPr id="27" name="Textfeld 26">
              <a:extLst>
                <a:ext uri="{FF2B5EF4-FFF2-40B4-BE49-F238E27FC236}">
                  <a16:creationId xmlns:a16="http://schemas.microsoft.com/office/drawing/2014/main" id="{8D5B341B-D692-A6EE-F343-0B75E2468E91}"/>
                </a:ext>
              </a:extLst>
            </p:cNvPr>
            <p:cNvSpPr txBox="1"/>
            <p:nvPr/>
          </p:nvSpPr>
          <p:spPr>
            <a:xfrm>
              <a:off x="-132679" y="5350989"/>
              <a:ext cx="704182" cy="325473"/>
            </a:xfrm>
            <a:prstGeom prst="rect">
              <a:avLst/>
            </a:prstGeom>
            <a:noFill/>
          </p:spPr>
          <p:txBody>
            <a:bodyPr wrap="square" rtlCol="0">
              <a:noAutofit/>
            </a:bodyPr>
            <a:lstStyle/>
            <a:p>
              <a:pPr marL="0" marR="0" lvl="0" indent="0" algn="l" defTabSz="457200" rtl="0" eaLnBrk="1" fontAlgn="auto" latinLnBrk="0" hangingPunct="1">
                <a:lnSpc>
                  <a:spcPct val="114000"/>
                </a:lnSpc>
                <a:spcBef>
                  <a:spcPts val="600"/>
                </a:spcBef>
                <a:spcAft>
                  <a:spcPts val="0"/>
                </a:spcAft>
                <a:buClr>
                  <a:srgbClr val="0081A6"/>
                </a:buClr>
                <a:buSzTx/>
                <a:buFontTx/>
                <a:buNone/>
                <a:tabLst/>
                <a:defRPr/>
              </a:pPr>
              <a:r>
                <a:rPr kumimoji="0" lang="de-DE" sz="1200" b="0" i="0" u="none" strike="noStrike" kern="1200" cap="none" spc="0" normalizeH="0" baseline="0" noProof="0" dirty="0">
                  <a:ln>
                    <a:noFill/>
                  </a:ln>
                  <a:effectLst/>
                  <a:uLnTx/>
                  <a:uFillTx/>
                  <a:ea typeface="Yu Gothic Light" panose="020B0300000000000000" pitchFamily="34" charset="-128"/>
                  <a:cs typeface="+mn-cs"/>
                </a:rPr>
                <a:t>0 Euro</a:t>
              </a:r>
            </a:p>
          </p:txBody>
        </p:sp>
        <p:sp>
          <p:nvSpPr>
            <p:cNvPr id="28" name="Textfeld 27">
              <a:extLst>
                <a:ext uri="{FF2B5EF4-FFF2-40B4-BE49-F238E27FC236}">
                  <a16:creationId xmlns:a16="http://schemas.microsoft.com/office/drawing/2014/main" id="{49B544EC-0BD4-5FEC-E2E6-E9882BCA7C93}"/>
                </a:ext>
              </a:extLst>
            </p:cNvPr>
            <p:cNvSpPr txBox="1"/>
            <p:nvPr/>
          </p:nvSpPr>
          <p:spPr>
            <a:xfrm>
              <a:off x="90619" y="4658001"/>
              <a:ext cx="503548" cy="325473"/>
            </a:xfrm>
            <a:prstGeom prst="rect">
              <a:avLst/>
            </a:prstGeom>
            <a:noFill/>
          </p:spPr>
          <p:txBody>
            <a:bodyPr wrap="square" rtlCol="0">
              <a:noAutofit/>
            </a:bodyPr>
            <a:lstStyle/>
            <a:p>
              <a:pPr marL="0" marR="0" lvl="0" indent="0" algn="l" defTabSz="457200" rtl="0" eaLnBrk="1" fontAlgn="auto" latinLnBrk="0" hangingPunct="1">
                <a:lnSpc>
                  <a:spcPct val="114000"/>
                </a:lnSpc>
                <a:spcBef>
                  <a:spcPts val="600"/>
                </a:spcBef>
                <a:spcAft>
                  <a:spcPts val="0"/>
                </a:spcAft>
                <a:buClr>
                  <a:srgbClr val="0081A6"/>
                </a:buClr>
                <a:buSzTx/>
                <a:buFontTx/>
                <a:buNone/>
                <a:tabLst/>
                <a:defRPr/>
              </a:pPr>
              <a:r>
                <a:rPr kumimoji="0" lang="de-DE" sz="1200" b="0" i="0" u="none" strike="noStrike" kern="1200" cap="none" spc="0" normalizeH="0" baseline="0" noProof="0" dirty="0">
                  <a:ln>
                    <a:noFill/>
                  </a:ln>
                  <a:effectLst/>
                  <a:uLnTx/>
                  <a:uFillTx/>
                  <a:ea typeface="Yu Gothic Light" panose="020B0300000000000000" pitchFamily="34" charset="-128"/>
                  <a:cs typeface="+mn-cs"/>
                </a:rPr>
                <a:t>750</a:t>
              </a:r>
            </a:p>
          </p:txBody>
        </p:sp>
        <p:sp>
          <p:nvSpPr>
            <p:cNvPr id="29" name="Textfeld 28">
              <a:extLst>
                <a:ext uri="{FF2B5EF4-FFF2-40B4-BE49-F238E27FC236}">
                  <a16:creationId xmlns:a16="http://schemas.microsoft.com/office/drawing/2014/main" id="{243E0C8C-BF94-74A9-4E13-367F0A4BB00B}"/>
                </a:ext>
              </a:extLst>
            </p:cNvPr>
            <p:cNvSpPr txBox="1"/>
            <p:nvPr/>
          </p:nvSpPr>
          <p:spPr>
            <a:xfrm>
              <a:off x="17594" y="3930216"/>
              <a:ext cx="553908" cy="325473"/>
            </a:xfrm>
            <a:prstGeom prst="rect">
              <a:avLst/>
            </a:prstGeom>
            <a:noFill/>
          </p:spPr>
          <p:txBody>
            <a:bodyPr wrap="square" rtlCol="0">
              <a:noAutofit/>
            </a:bodyPr>
            <a:lstStyle/>
            <a:p>
              <a:pPr marL="0" marR="0" lvl="0" indent="0" algn="l" defTabSz="457200" rtl="0" eaLnBrk="1" fontAlgn="auto" latinLnBrk="0" hangingPunct="1">
                <a:lnSpc>
                  <a:spcPct val="114000"/>
                </a:lnSpc>
                <a:spcBef>
                  <a:spcPts val="600"/>
                </a:spcBef>
                <a:spcAft>
                  <a:spcPts val="0"/>
                </a:spcAft>
                <a:buClr>
                  <a:srgbClr val="0081A6"/>
                </a:buClr>
                <a:buSzTx/>
                <a:buFontTx/>
                <a:buNone/>
                <a:tabLst/>
                <a:defRPr/>
              </a:pPr>
              <a:r>
                <a:rPr kumimoji="0" lang="de-DE" sz="1200" b="0" i="0" u="none" strike="noStrike" kern="1200" cap="none" spc="0" normalizeH="0" baseline="0" noProof="0" dirty="0">
                  <a:ln>
                    <a:noFill/>
                  </a:ln>
                  <a:effectLst/>
                  <a:uLnTx/>
                  <a:uFillTx/>
                  <a:ea typeface="Yu Gothic Light" panose="020B0300000000000000" pitchFamily="34" charset="-128"/>
                  <a:cs typeface="+mn-cs"/>
                </a:rPr>
                <a:t>1500</a:t>
              </a:r>
            </a:p>
          </p:txBody>
        </p:sp>
        <p:sp>
          <p:nvSpPr>
            <p:cNvPr id="30" name="Textfeld 29">
              <a:extLst>
                <a:ext uri="{FF2B5EF4-FFF2-40B4-BE49-F238E27FC236}">
                  <a16:creationId xmlns:a16="http://schemas.microsoft.com/office/drawing/2014/main" id="{3B682E40-C8C5-570D-74D6-A6F822D1FA50}"/>
                </a:ext>
              </a:extLst>
            </p:cNvPr>
            <p:cNvSpPr txBox="1"/>
            <p:nvPr/>
          </p:nvSpPr>
          <p:spPr>
            <a:xfrm>
              <a:off x="16949" y="3214860"/>
              <a:ext cx="553908" cy="325473"/>
            </a:xfrm>
            <a:prstGeom prst="rect">
              <a:avLst/>
            </a:prstGeom>
            <a:noFill/>
          </p:spPr>
          <p:txBody>
            <a:bodyPr wrap="square" rtlCol="0">
              <a:noAutofit/>
            </a:bodyPr>
            <a:lstStyle/>
            <a:p>
              <a:pPr marL="0" marR="0" lvl="0" indent="0" algn="l" defTabSz="457200" rtl="0" eaLnBrk="1" fontAlgn="auto" latinLnBrk="0" hangingPunct="1">
                <a:lnSpc>
                  <a:spcPct val="114000"/>
                </a:lnSpc>
                <a:spcBef>
                  <a:spcPts val="600"/>
                </a:spcBef>
                <a:spcAft>
                  <a:spcPts val="0"/>
                </a:spcAft>
                <a:buClr>
                  <a:srgbClr val="0081A6"/>
                </a:buClr>
                <a:buSzTx/>
                <a:buFontTx/>
                <a:buNone/>
                <a:tabLst/>
                <a:defRPr/>
              </a:pPr>
              <a:r>
                <a:rPr kumimoji="0" lang="de-DE" sz="1200" b="0" i="0" u="none" strike="noStrike" kern="1200" cap="none" spc="0" normalizeH="0" baseline="0" noProof="0" dirty="0">
                  <a:ln>
                    <a:noFill/>
                  </a:ln>
                  <a:effectLst/>
                  <a:uLnTx/>
                  <a:uFillTx/>
                  <a:ea typeface="Yu Gothic Light" panose="020B0300000000000000" pitchFamily="34" charset="-128"/>
                  <a:cs typeface="+mn-cs"/>
                </a:rPr>
                <a:t>2250</a:t>
              </a:r>
            </a:p>
          </p:txBody>
        </p:sp>
        <p:sp>
          <p:nvSpPr>
            <p:cNvPr id="31" name="Textfeld 30">
              <a:extLst>
                <a:ext uri="{FF2B5EF4-FFF2-40B4-BE49-F238E27FC236}">
                  <a16:creationId xmlns:a16="http://schemas.microsoft.com/office/drawing/2014/main" id="{3FBD5065-8EB7-96F2-FB63-AC6C8C56402A}"/>
                </a:ext>
              </a:extLst>
            </p:cNvPr>
            <p:cNvSpPr txBox="1"/>
            <p:nvPr/>
          </p:nvSpPr>
          <p:spPr>
            <a:xfrm>
              <a:off x="16948" y="2503247"/>
              <a:ext cx="553910" cy="325473"/>
            </a:xfrm>
            <a:prstGeom prst="rect">
              <a:avLst/>
            </a:prstGeom>
            <a:noFill/>
          </p:spPr>
          <p:txBody>
            <a:bodyPr wrap="square" rtlCol="0">
              <a:noAutofit/>
            </a:bodyPr>
            <a:lstStyle/>
            <a:p>
              <a:pPr marL="0" marR="0" lvl="0" indent="0" algn="l" defTabSz="457200" rtl="0" eaLnBrk="1" fontAlgn="auto" latinLnBrk="0" hangingPunct="1">
                <a:lnSpc>
                  <a:spcPct val="114000"/>
                </a:lnSpc>
                <a:spcBef>
                  <a:spcPts val="600"/>
                </a:spcBef>
                <a:spcAft>
                  <a:spcPts val="0"/>
                </a:spcAft>
                <a:buClr>
                  <a:srgbClr val="0081A6"/>
                </a:buClr>
                <a:buSzTx/>
                <a:buFontTx/>
                <a:buNone/>
                <a:tabLst/>
                <a:defRPr/>
              </a:pPr>
              <a:r>
                <a:rPr kumimoji="0" lang="de-DE" sz="1200" b="0" i="0" u="none" strike="noStrike" kern="1200" cap="none" spc="0" normalizeH="0" baseline="0" noProof="0" dirty="0">
                  <a:ln>
                    <a:noFill/>
                  </a:ln>
                  <a:effectLst/>
                  <a:uLnTx/>
                  <a:uFillTx/>
                  <a:ea typeface="Yu Gothic Light" panose="020B0300000000000000" pitchFamily="34" charset="-128"/>
                  <a:cs typeface="+mn-cs"/>
                </a:rPr>
                <a:t>3000</a:t>
              </a:r>
            </a:p>
          </p:txBody>
        </p:sp>
        <p:sp>
          <p:nvSpPr>
            <p:cNvPr id="32" name="Textfeld 31">
              <a:extLst>
                <a:ext uri="{FF2B5EF4-FFF2-40B4-BE49-F238E27FC236}">
                  <a16:creationId xmlns:a16="http://schemas.microsoft.com/office/drawing/2014/main" id="{C5F7BBE1-7E49-DBA9-FD69-8A1D5CB2ABE1}"/>
                </a:ext>
              </a:extLst>
            </p:cNvPr>
            <p:cNvSpPr txBox="1"/>
            <p:nvPr/>
          </p:nvSpPr>
          <p:spPr>
            <a:xfrm>
              <a:off x="16948" y="1775462"/>
              <a:ext cx="553910" cy="325473"/>
            </a:xfrm>
            <a:prstGeom prst="rect">
              <a:avLst/>
            </a:prstGeom>
            <a:noFill/>
          </p:spPr>
          <p:txBody>
            <a:bodyPr wrap="square" rtlCol="0">
              <a:noAutofit/>
            </a:bodyPr>
            <a:lstStyle/>
            <a:p>
              <a:pPr marL="0" marR="0" lvl="0" indent="0" algn="l" defTabSz="457200" rtl="0" eaLnBrk="1" fontAlgn="auto" latinLnBrk="0" hangingPunct="1">
                <a:lnSpc>
                  <a:spcPct val="114000"/>
                </a:lnSpc>
                <a:spcBef>
                  <a:spcPts val="600"/>
                </a:spcBef>
                <a:spcAft>
                  <a:spcPts val="0"/>
                </a:spcAft>
                <a:buClr>
                  <a:srgbClr val="0081A6"/>
                </a:buClr>
                <a:buSzTx/>
                <a:buFontTx/>
                <a:buNone/>
                <a:tabLst/>
                <a:defRPr/>
              </a:pPr>
              <a:r>
                <a:rPr kumimoji="0" lang="de-DE" sz="1200" b="0" i="0" u="none" strike="noStrike" kern="1200" cap="none" spc="0" normalizeH="0" baseline="0" noProof="0" dirty="0">
                  <a:ln>
                    <a:noFill/>
                  </a:ln>
                  <a:effectLst/>
                  <a:uLnTx/>
                  <a:uFillTx/>
                  <a:ea typeface="Yu Gothic Light" panose="020B0300000000000000" pitchFamily="34" charset="-128"/>
                  <a:cs typeface="+mn-cs"/>
                </a:rPr>
                <a:t>3750</a:t>
              </a:r>
            </a:p>
          </p:txBody>
        </p:sp>
        <p:sp>
          <p:nvSpPr>
            <p:cNvPr id="33" name="Textfeld 32">
              <a:extLst>
                <a:ext uri="{FF2B5EF4-FFF2-40B4-BE49-F238E27FC236}">
                  <a16:creationId xmlns:a16="http://schemas.microsoft.com/office/drawing/2014/main" id="{E92B84F5-3729-5846-370C-F37711969E8F}"/>
                </a:ext>
              </a:extLst>
            </p:cNvPr>
            <p:cNvSpPr txBox="1"/>
            <p:nvPr/>
          </p:nvSpPr>
          <p:spPr>
            <a:xfrm>
              <a:off x="91087" y="5615864"/>
              <a:ext cx="823383" cy="325473"/>
            </a:xfrm>
            <a:prstGeom prst="rect">
              <a:avLst/>
            </a:prstGeom>
            <a:noFill/>
          </p:spPr>
          <p:txBody>
            <a:bodyPr wrap="square" rtlCol="0">
              <a:noAutofit/>
            </a:bodyPr>
            <a:lstStyle/>
            <a:p>
              <a:pPr marL="0" marR="0" lvl="0" indent="0" algn="r" defTabSz="457200" rtl="0" eaLnBrk="1" fontAlgn="auto" latinLnBrk="0" hangingPunct="1">
                <a:lnSpc>
                  <a:spcPct val="114000"/>
                </a:lnSpc>
                <a:spcBef>
                  <a:spcPts val="600"/>
                </a:spcBef>
                <a:spcAft>
                  <a:spcPts val="0"/>
                </a:spcAft>
                <a:buClr>
                  <a:srgbClr val="0081A6"/>
                </a:buClr>
                <a:buSzTx/>
                <a:buFontTx/>
                <a:buNone/>
                <a:tabLst/>
                <a:defRPr/>
              </a:pPr>
              <a:r>
                <a:rPr kumimoji="0" lang="de-DE" sz="1200" b="0" i="0" u="none" strike="noStrike" kern="1200" cap="none" spc="0" normalizeH="0" baseline="0" noProof="0" dirty="0">
                  <a:ln>
                    <a:noFill/>
                  </a:ln>
                  <a:effectLst/>
                  <a:uLnTx/>
                  <a:uFillTx/>
                  <a:ea typeface="Yu Gothic Light" panose="020B0300000000000000" pitchFamily="34" charset="-128"/>
                  <a:cs typeface="+mn-cs"/>
                </a:rPr>
                <a:t>Jetzt</a:t>
              </a:r>
            </a:p>
          </p:txBody>
        </p:sp>
        <p:sp>
          <p:nvSpPr>
            <p:cNvPr id="34" name="Textfeld 33">
              <a:extLst>
                <a:ext uri="{FF2B5EF4-FFF2-40B4-BE49-F238E27FC236}">
                  <a16:creationId xmlns:a16="http://schemas.microsoft.com/office/drawing/2014/main" id="{0E298137-EDD6-01DE-F5DA-53F821AB1249}"/>
                </a:ext>
              </a:extLst>
            </p:cNvPr>
            <p:cNvSpPr txBox="1"/>
            <p:nvPr/>
          </p:nvSpPr>
          <p:spPr>
            <a:xfrm>
              <a:off x="3951083" y="5615864"/>
              <a:ext cx="1026037" cy="325473"/>
            </a:xfrm>
            <a:prstGeom prst="rect">
              <a:avLst/>
            </a:prstGeom>
            <a:noFill/>
          </p:spPr>
          <p:txBody>
            <a:bodyPr wrap="square" rtlCol="0">
              <a:noAutofit/>
            </a:bodyPr>
            <a:lstStyle/>
            <a:p>
              <a:pPr marL="0" marR="0" lvl="0" indent="0" algn="r" defTabSz="457200" rtl="0" eaLnBrk="1" fontAlgn="auto" latinLnBrk="0" hangingPunct="1">
                <a:lnSpc>
                  <a:spcPct val="114000"/>
                </a:lnSpc>
                <a:spcBef>
                  <a:spcPts val="600"/>
                </a:spcBef>
                <a:spcAft>
                  <a:spcPts val="0"/>
                </a:spcAft>
                <a:buClr>
                  <a:srgbClr val="0081A6"/>
                </a:buClr>
                <a:buSzTx/>
                <a:buFontTx/>
                <a:buNone/>
                <a:tabLst/>
                <a:defRPr/>
              </a:pPr>
              <a:r>
                <a:rPr kumimoji="0" lang="de-DE" sz="1200" b="0" i="0" u="none" strike="noStrike" kern="1200" cap="none" spc="0" normalizeH="0" baseline="0" noProof="0" dirty="0">
                  <a:ln>
                    <a:noFill/>
                  </a:ln>
                  <a:effectLst/>
                  <a:uLnTx/>
                  <a:uFillTx/>
                  <a:ea typeface="Yu Gothic Light" panose="020B0300000000000000" pitchFamily="34" charset="-128"/>
                  <a:cs typeface="+mn-cs"/>
                </a:rPr>
                <a:t>Kinder verdienen eigenes Geld</a:t>
              </a:r>
            </a:p>
          </p:txBody>
        </p:sp>
        <p:sp>
          <p:nvSpPr>
            <p:cNvPr id="35" name="Rechteck 34">
              <a:extLst>
                <a:ext uri="{FF2B5EF4-FFF2-40B4-BE49-F238E27FC236}">
                  <a16:creationId xmlns:a16="http://schemas.microsoft.com/office/drawing/2014/main" id="{5FACF4BD-A4AF-81C6-EE75-B004042D07BF}"/>
                </a:ext>
              </a:extLst>
            </p:cNvPr>
            <p:cNvSpPr/>
            <p:nvPr/>
          </p:nvSpPr>
          <p:spPr bwMode="auto">
            <a:xfrm>
              <a:off x="550682" y="4498494"/>
              <a:ext cx="10742121" cy="1081731"/>
            </a:xfrm>
            <a:prstGeom prst="rect">
              <a:avLst/>
            </a:prstGeom>
            <a:solidFill>
              <a:srgbClr val="2F4D72">
                <a:lumMod val="40000"/>
                <a:lumOff val="60000"/>
              </a:srgbClr>
            </a:solidFill>
            <a:ln w="25400" cap="flat" cmpd="sng" algn="ctr">
              <a:solidFill>
                <a:srgbClr val="2F4D72">
                  <a:lumMod val="40000"/>
                  <a:lumOff val="60000"/>
                </a:srgbClr>
              </a:solidFill>
              <a:prstDash val="solid"/>
              <a:headEnd/>
              <a:tailEnd/>
            </a:ln>
            <a:effectLst/>
          </p:spPr>
          <p:txBody>
            <a:bodyPr wrap="square" lIns="0" tIns="0" rIns="0" bIns="0" rtlCol="0" anchor="ctr">
              <a:spAutoFit/>
            </a:bodyPr>
            <a:lstStyle/>
            <a:p>
              <a:pPr marL="173038" marR="0" lvl="0" indent="-180000" algn="ctr" defTabSz="762000" rtl="0" eaLnBrk="0" fontAlgn="auto" latinLnBrk="0" hangingPunct="0">
                <a:lnSpc>
                  <a:spcPct val="100000"/>
                </a:lnSpc>
                <a:spcBef>
                  <a:spcPct val="30000"/>
                </a:spcBef>
                <a:spcAft>
                  <a:spcPts val="0"/>
                </a:spcAft>
                <a:buClr>
                  <a:srgbClr val="2F4D72"/>
                </a:buClr>
                <a:buSzTx/>
                <a:buFont typeface="Arial" panose="020B0604020202020204" pitchFamily="34" charset="0"/>
                <a:buChar char="•"/>
                <a:tabLst/>
                <a:defRPr/>
              </a:pPr>
              <a:endParaRPr kumimoji="0" lang="de-DE" sz="1200" b="0" i="0" u="none" strike="noStrike" kern="0" cap="none" spc="0" normalizeH="0" baseline="0" noProof="0" dirty="0">
                <a:ln>
                  <a:noFill/>
                </a:ln>
                <a:solidFill>
                  <a:srgbClr val="000000">
                    <a:lumMod val="75000"/>
                    <a:lumOff val="25000"/>
                  </a:srgbClr>
                </a:solidFill>
                <a:effectLst/>
                <a:uLnTx/>
                <a:uFillTx/>
                <a:latin typeface="PT Sans"/>
                <a:ea typeface="+mn-ea"/>
                <a:cs typeface="+mn-cs"/>
              </a:endParaRPr>
            </a:p>
          </p:txBody>
        </p:sp>
        <p:cxnSp>
          <p:nvCxnSpPr>
            <p:cNvPr id="36" name="Gerader Verbinder 35">
              <a:extLst>
                <a:ext uri="{FF2B5EF4-FFF2-40B4-BE49-F238E27FC236}">
                  <a16:creationId xmlns:a16="http://schemas.microsoft.com/office/drawing/2014/main" id="{8B143CB2-E3F9-E52C-0BBC-C49EF8EC4759}"/>
                </a:ext>
              </a:extLst>
            </p:cNvPr>
            <p:cNvCxnSpPr>
              <a:cxnSpLocks/>
            </p:cNvCxnSpPr>
            <p:nvPr/>
          </p:nvCxnSpPr>
          <p:spPr>
            <a:xfrm>
              <a:off x="9914756" y="5606955"/>
              <a:ext cx="0" cy="114301"/>
            </a:xfrm>
            <a:prstGeom prst="line">
              <a:avLst/>
            </a:prstGeom>
            <a:noFill/>
            <a:ln w="38100" cap="flat" cmpd="sng" algn="ctr">
              <a:solidFill>
                <a:srgbClr val="FFFFFF">
                  <a:lumMod val="50000"/>
                </a:srgbClr>
              </a:solidFill>
              <a:prstDash val="solid"/>
            </a:ln>
            <a:effectLst/>
          </p:spPr>
        </p:cxnSp>
        <p:sp>
          <p:nvSpPr>
            <p:cNvPr id="37" name="Gleichschenkliges Dreieck 36">
              <a:extLst>
                <a:ext uri="{FF2B5EF4-FFF2-40B4-BE49-F238E27FC236}">
                  <a16:creationId xmlns:a16="http://schemas.microsoft.com/office/drawing/2014/main" id="{B903E7EC-9767-777A-3198-795E1D465512}"/>
                </a:ext>
              </a:extLst>
            </p:cNvPr>
            <p:cNvSpPr/>
            <p:nvPr/>
          </p:nvSpPr>
          <p:spPr bwMode="auto">
            <a:xfrm>
              <a:off x="527403" y="2245446"/>
              <a:ext cx="4371428" cy="962104"/>
            </a:xfrm>
            <a:prstGeom prst="triangle">
              <a:avLst>
                <a:gd name="adj" fmla="val 100000"/>
              </a:avLst>
            </a:prstGeom>
            <a:solidFill>
              <a:srgbClr val="2F4D72"/>
            </a:solidFill>
            <a:ln w="12700" algn="ctr">
              <a:noFill/>
              <a:miter lim="800000"/>
              <a:headEnd/>
              <a:tailEnd/>
            </a:ln>
          </p:spPr>
          <p:txBody>
            <a:bodyPr wrap="square" lIns="0" tIns="0" rIns="0" bIns="0" rtlCol="0" anchor="ctr">
              <a:spAutoFit/>
            </a:bodyPr>
            <a:lstStyle/>
            <a:p>
              <a:pPr marL="173038" marR="0" lvl="0" indent="-180000" algn="ctr" defTabSz="762000" rtl="0" eaLnBrk="0" fontAlgn="auto" latinLnBrk="0" hangingPunct="0">
                <a:lnSpc>
                  <a:spcPct val="100000"/>
                </a:lnSpc>
                <a:spcBef>
                  <a:spcPct val="30000"/>
                </a:spcBef>
                <a:spcAft>
                  <a:spcPts val="0"/>
                </a:spcAft>
                <a:buClr>
                  <a:srgbClr val="2F4D72"/>
                </a:buClr>
                <a:buSzTx/>
                <a:buFont typeface="Arial" panose="020B0604020202020204" pitchFamily="34" charset="0"/>
                <a:buChar char="•"/>
                <a:tabLst/>
                <a:defRPr/>
              </a:pPr>
              <a:endParaRPr kumimoji="0" lang="de-DE" sz="1200" b="0" i="0" u="none" strike="noStrike" kern="0" cap="none" spc="0" normalizeH="0" baseline="0" noProof="0" dirty="0">
                <a:ln>
                  <a:noFill/>
                </a:ln>
                <a:solidFill>
                  <a:srgbClr val="000000">
                    <a:lumMod val="75000"/>
                    <a:lumOff val="25000"/>
                  </a:srgbClr>
                </a:solidFill>
                <a:effectLst/>
                <a:uLnTx/>
                <a:uFillTx/>
                <a:latin typeface="PT Sans"/>
                <a:ea typeface="+mn-ea"/>
                <a:cs typeface="+mn-cs"/>
              </a:endParaRPr>
            </a:p>
          </p:txBody>
        </p:sp>
        <p:sp>
          <p:nvSpPr>
            <p:cNvPr id="38" name="Gleichschenkliges Dreieck 37">
              <a:extLst>
                <a:ext uri="{FF2B5EF4-FFF2-40B4-BE49-F238E27FC236}">
                  <a16:creationId xmlns:a16="http://schemas.microsoft.com/office/drawing/2014/main" id="{3981D0AB-D5B8-F12F-F5CD-480425D13937}"/>
                </a:ext>
              </a:extLst>
            </p:cNvPr>
            <p:cNvSpPr/>
            <p:nvPr/>
          </p:nvSpPr>
          <p:spPr bwMode="auto">
            <a:xfrm>
              <a:off x="515669" y="3526371"/>
              <a:ext cx="10793084" cy="962104"/>
            </a:xfrm>
            <a:prstGeom prst="triangle">
              <a:avLst>
                <a:gd name="adj" fmla="val 100000"/>
              </a:avLst>
            </a:prstGeom>
            <a:solidFill>
              <a:srgbClr val="2F4D72">
                <a:lumMod val="40000"/>
                <a:lumOff val="60000"/>
              </a:srgbClr>
            </a:solidFill>
            <a:ln w="12700" algn="ctr">
              <a:noFill/>
              <a:miter lim="800000"/>
              <a:headEnd/>
              <a:tailEnd/>
            </a:ln>
          </p:spPr>
          <p:txBody>
            <a:bodyPr wrap="square" lIns="0" tIns="0" rIns="0" bIns="0" rtlCol="0" anchor="ctr">
              <a:spAutoFit/>
            </a:bodyPr>
            <a:lstStyle/>
            <a:p>
              <a:pPr marL="173038" marR="0" lvl="0" indent="-180000" algn="ctr" defTabSz="762000" rtl="0" eaLnBrk="0" fontAlgn="auto" latinLnBrk="0" hangingPunct="0">
                <a:lnSpc>
                  <a:spcPct val="100000"/>
                </a:lnSpc>
                <a:spcBef>
                  <a:spcPct val="30000"/>
                </a:spcBef>
                <a:spcAft>
                  <a:spcPts val="0"/>
                </a:spcAft>
                <a:buClr>
                  <a:srgbClr val="2F4D72"/>
                </a:buClr>
                <a:buSzTx/>
                <a:buFont typeface="Arial" panose="020B0604020202020204" pitchFamily="34" charset="0"/>
                <a:buChar char="•"/>
                <a:tabLst/>
                <a:defRPr/>
              </a:pPr>
              <a:endParaRPr kumimoji="0" lang="de-DE" sz="1200" b="0" i="0" u="none" strike="noStrike" kern="0" cap="none" spc="0" normalizeH="0" baseline="0" noProof="0" dirty="0">
                <a:ln>
                  <a:noFill/>
                </a:ln>
                <a:solidFill>
                  <a:srgbClr val="000000">
                    <a:lumMod val="75000"/>
                    <a:lumOff val="25000"/>
                  </a:srgbClr>
                </a:solidFill>
                <a:effectLst/>
                <a:uLnTx/>
                <a:uFillTx/>
                <a:latin typeface="PT Sans"/>
                <a:ea typeface="+mn-ea"/>
                <a:cs typeface="+mn-cs"/>
              </a:endParaRPr>
            </a:p>
          </p:txBody>
        </p:sp>
        <p:sp>
          <p:nvSpPr>
            <p:cNvPr id="61" name="Textfeld 60">
              <a:extLst>
                <a:ext uri="{FF2B5EF4-FFF2-40B4-BE49-F238E27FC236}">
                  <a16:creationId xmlns:a16="http://schemas.microsoft.com/office/drawing/2014/main" id="{0D5CB8D3-BD97-9C54-F351-62DA246ADE1A}"/>
                </a:ext>
              </a:extLst>
            </p:cNvPr>
            <p:cNvSpPr txBox="1"/>
            <p:nvPr/>
          </p:nvSpPr>
          <p:spPr>
            <a:xfrm>
              <a:off x="5386655" y="5606545"/>
              <a:ext cx="1026038" cy="325473"/>
            </a:xfrm>
            <a:prstGeom prst="rect">
              <a:avLst/>
            </a:prstGeom>
            <a:noFill/>
          </p:spPr>
          <p:txBody>
            <a:bodyPr wrap="square" rtlCol="0">
              <a:noAutofit/>
            </a:bodyPr>
            <a:lstStyle/>
            <a:p>
              <a:pPr marL="0" marR="0" lvl="0" indent="0" algn="r" defTabSz="457200" rtl="0" eaLnBrk="1" fontAlgn="auto" latinLnBrk="0" hangingPunct="1">
                <a:lnSpc>
                  <a:spcPct val="114000"/>
                </a:lnSpc>
                <a:spcBef>
                  <a:spcPts val="600"/>
                </a:spcBef>
                <a:spcAft>
                  <a:spcPts val="0"/>
                </a:spcAft>
                <a:buClr>
                  <a:srgbClr val="0081A6"/>
                </a:buClr>
                <a:buSzTx/>
                <a:buFontTx/>
                <a:buNone/>
                <a:tabLst/>
                <a:defRPr/>
              </a:pPr>
              <a:r>
                <a:rPr kumimoji="0" lang="de-DE" sz="1200" b="0" i="0" u="none" strike="noStrike" kern="1200" cap="none" spc="0" normalizeH="0" baseline="0" noProof="0" dirty="0">
                  <a:ln>
                    <a:noFill/>
                  </a:ln>
                  <a:effectLst/>
                  <a:uLnTx/>
                  <a:uFillTx/>
                  <a:ea typeface="Yu Gothic Light" panose="020B0300000000000000" pitchFamily="34" charset="-128"/>
                  <a:cs typeface="+mn-cs"/>
                </a:rPr>
                <a:t>Immobilie abbezahlt</a:t>
              </a:r>
            </a:p>
          </p:txBody>
        </p:sp>
        <p:sp>
          <p:nvSpPr>
            <p:cNvPr id="64" name="Textfeld 63">
              <a:extLst>
                <a:ext uri="{FF2B5EF4-FFF2-40B4-BE49-F238E27FC236}">
                  <a16:creationId xmlns:a16="http://schemas.microsoft.com/office/drawing/2014/main" id="{30CBD0B0-8FCC-2283-EDA7-FF3EF3C620EB}"/>
                </a:ext>
              </a:extLst>
            </p:cNvPr>
            <p:cNvSpPr txBox="1"/>
            <p:nvPr/>
          </p:nvSpPr>
          <p:spPr>
            <a:xfrm>
              <a:off x="7034695" y="5579609"/>
              <a:ext cx="823383" cy="325473"/>
            </a:xfrm>
            <a:prstGeom prst="rect">
              <a:avLst/>
            </a:prstGeom>
            <a:noFill/>
          </p:spPr>
          <p:txBody>
            <a:bodyPr wrap="square" rtlCol="0">
              <a:noAutofit/>
            </a:bodyPr>
            <a:lstStyle/>
            <a:p>
              <a:pPr marL="0" marR="0" lvl="0" indent="0" algn="l" defTabSz="457200" rtl="0" eaLnBrk="1" fontAlgn="auto" latinLnBrk="0" hangingPunct="1">
                <a:lnSpc>
                  <a:spcPct val="114000"/>
                </a:lnSpc>
                <a:spcBef>
                  <a:spcPts val="600"/>
                </a:spcBef>
                <a:spcAft>
                  <a:spcPts val="0"/>
                </a:spcAft>
                <a:buClr>
                  <a:srgbClr val="0081A6"/>
                </a:buClr>
                <a:buSzTx/>
                <a:buFontTx/>
                <a:buNone/>
                <a:tabLst/>
                <a:defRPr/>
              </a:pPr>
              <a:r>
                <a:rPr kumimoji="0" lang="de-DE" sz="1200" b="1" i="0" u="none" strike="noStrike" kern="1200" cap="none" spc="0" normalizeH="0" baseline="0" noProof="0" dirty="0">
                  <a:ln>
                    <a:noFill/>
                  </a:ln>
                  <a:effectLst/>
                  <a:uLnTx/>
                  <a:uFillTx/>
                  <a:ea typeface="Yu Gothic Light" panose="020B0300000000000000" pitchFamily="34" charset="-128"/>
                  <a:cs typeface="+mn-cs"/>
                </a:rPr>
                <a:t>Renten</a:t>
              </a:r>
              <a:r>
                <a:rPr lang="de-DE" sz="1200" b="1" dirty="0">
                  <a:ea typeface="Yu Gothic Light" panose="020B0300000000000000" pitchFamily="34" charset="-128"/>
                </a:rPr>
                <a:t>-</a:t>
              </a:r>
              <a:r>
                <a:rPr kumimoji="0" lang="de-DE" sz="1200" b="1" i="0" u="none" strike="noStrike" kern="1200" cap="none" spc="0" normalizeH="0" baseline="0" noProof="0" dirty="0">
                  <a:ln>
                    <a:noFill/>
                  </a:ln>
                  <a:effectLst/>
                  <a:uLnTx/>
                  <a:uFillTx/>
                  <a:ea typeface="Yu Gothic Light" panose="020B0300000000000000" pitchFamily="34" charset="-128"/>
                  <a:cs typeface="+mn-cs"/>
                </a:rPr>
                <a:t>eintritt</a:t>
              </a:r>
            </a:p>
          </p:txBody>
        </p:sp>
        <p:sp>
          <p:nvSpPr>
            <p:cNvPr id="65" name="Textfeld 64">
              <a:extLst>
                <a:ext uri="{FF2B5EF4-FFF2-40B4-BE49-F238E27FC236}">
                  <a16:creationId xmlns:a16="http://schemas.microsoft.com/office/drawing/2014/main" id="{11634A9C-3535-C60C-5226-F63240988580}"/>
                </a:ext>
              </a:extLst>
            </p:cNvPr>
            <p:cNvSpPr txBox="1"/>
            <p:nvPr/>
          </p:nvSpPr>
          <p:spPr>
            <a:xfrm>
              <a:off x="9059070" y="5598946"/>
              <a:ext cx="823383" cy="325473"/>
            </a:xfrm>
            <a:prstGeom prst="rect">
              <a:avLst/>
            </a:prstGeom>
            <a:noFill/>
          </p:spPr>
          <p:txBody>
            <a:bodyPr wrap="square" rtlCol="0">
              <a:noAutofit/>
            </a:bodyPr>
            <a:lstStyle/>
            <a:p>
              <a:pPr marL="0" marR="0" lvl="0" indent="0" algn="r" defTabSz="457200" rtl="0" eaLnBrk="1" fontAlgn="auto" latinLnBrk="0" hangingPunct="1">
                <a:lnSpc>
                  <a:spcPct val="114000"/>
                </a:lnSpc>
                <a:spcBef>
                  <a:spcPts val="600"/>
                </a:spcBef>
                <a:spcAft>
                  <a:spcPts val="0"/>
                </a:spcAft>
                <a:buClr>
                  <a:srgbClr val="0081A6"/>
                </a:buClr>
                <a:buSzTx/>
                <a:buFontTx/>
                <a:buNone/>
                <a:tabLst/>
                <a:defRPr/>
              </a:pPr>
              <a:r>
                <a:rPr kumimoji="0" lang="de-DE" sz="1200" b="0" i="0" u="none" strike="noStrike" kern="1200" cap="none" spc="0" normalizeH="0" baseline="0" noProof="0" dirty="0">
                  <a:ln>
                    <a:noFill/>
                  </a:ln>
                  <a:effectLst/>
                  <a:uLnTx/>
                  <a:uFillTx/>
                  <a:ea typeface="Yu Gothic Light" panose="020B0300000000000000" pitchFamily="34" charset="-128"/>
                  <a:cs typeface="+mn-cs"/>
                </a:rPr>
                <a:t>usw.</a:t>
              </a:r>
            </a:p>
          </p:txBody>
        </p:sp>
        <p:sp>
          <p:nvSpPr>
            <p:cNvPr id="68" name="Textfeld 67">
              <a:extLst>
                <a:ext uri="{FF2B5EF4-FFF2-40B4-BE49-F238E27FC236}">
                  <a16:creationId xmlns:a16="http://schemas.microsoft.com/office/drawing/2014/main" id="{B241DD3E-FC66-E516-35DC-FE01F624993C}"/>
                </a:ext>
              </a:extLst>
            </p:cNvPr>
            <p:cNvSpPr txBox="1"/>
            <p:nvPr/>
          </p:nvSpPr>
          <p:spPr>
            <a:xfrm flipH="1">
              <a:off x="7465062" y="5573941"/>
              <a:ext cx="548965" cy="45719"/>
            </a:xfrm>
            <a:prstGeom prst="rect">
              <a:avLst/>
            </a:prstGeom>
            <a:noFill/>
          </p:spPr>
          <p:txBody>
            <a:bodyPr wrap="square" rtlCol="0">
              <a:noAutofit/>
            </a:bodyPr>
            <a:lstStyle/>
            <a:p>
              <a:pPr marL="0" marR="0" lvl="0" indent="0" algn="r" defTabSz="457200" rtl="0" eaLnBrk="1" fontAlgn="auto" latinLnBrk="0" hangingPunct="1">
                <a:lnSpc>
                  <a:spcPct val="114000"/>
                </a:lnSpc>
                <a:spcBef>
                  <a:spcPts val="600"/>
                </a:spcBef>
                <a:spcAft>
                  <a:spcPts val="0"/>
                </a:spcAft>
                <a:buClr>
                  <a:srgbClr val="0081A6"/>
                </a:buClr>
                <a:buSzTx/>
                <a:buFontTx/>
                <a:buNone/>
                <a:tabLst/>
                <a:defRPr/>
              </a:pPr>
              <a:r>
                <a:rPr kumimoji="0" lang="de-DE" sz="3200" b="1" i="0" u="none" strike="noStrike" kern="1200" cap="none" spc="0" normalizeH="0" baseline="0" noProof="0" dirty="0">
                  <a:ln>
                    <a:noFill/>
                  </a:ln>
                  <a:solidFill>
                    <a:srgbClr val="CE2828"/>
                  </a:solidFill>
                  <a:effectLst/>
                  <a:uLnTx/>
                  <a:uFillTx/>
                  <a:latin typeface="Yu Gothic Light" panose="020B0300000000000000" pitchFamily="34" charset="-128"/>
                  <a:ea typeface="Yu Gothic Light" panose="020B0300000000000000" pitchFamily="34" charset="-128"/>
                  <a:cs typeface="+mn-cs"/>
                </a:rPr>
                <a:t>!</a:t>
              </a:r>
              <a:endParaRPr kumimoji="0" lang="de-DE" sz="1400" b="1" i="0" u="none" strike="noStrike" kern="1200" cap="none" spc="0" normalizeH="0" baseline="0" noProof="0" dirty="0">
                <a:ln>
                  <a:noFill/>
                </a:ln>
                <a:solidFill>
                  <a:srgbClr val="CE2828"/>
                </a:solidFill>
                <a:effectLst/>
                <a:uLnTx/>
                <a:uFillTx/>
                <a:latin typeface="Yu Gothic Light" panose="020B0300000000000000" pitchFamily="34" charset="-128"/>
                <a:ea typeface="Yu Gothic Light" panose="020B0300000000000000" pitchFamily="34" charset="-128"/>
                <a:cs typeface="+mn-cs"/>
              </a:endParaRPr>
            </a:p>
          </p:txBody>
        </p:sp>
        <p:sp>
          <p:nvSpPr>
            <p:cNvPr id="69" name="Rechteck 68">
              <a:extLst>
                <a:ext uri="{FF2B5EF4-FFF2-40B4-BE49-F238E27FC236}">
                  <a16:creationId xmlns:a16="http://schemas.microsoft.com/office/drawing/2014/main" id="{8700A04A-60FC-5F24-C3A6-08F932A3CD42}"/>
                </a:ext>
              </a:extLst>
            </p:cNvPr>
            <p:cNvSpPr/>
            <p:nvPr/>
          </p:nvSpPr>
          <p:spPr bwMode="auto">
            <a:xfrm>
              <a:off x="548622" y="4551229"/>
              <a:ext cx="5774389" cy="1042519"/>
            </a:xfrm>
            <a:prstGeom prst="rect">
              <a:avLst/>
            </a:prstGeom>
            <a:solidFill>
              <a:srgbClr val="2F4D72">
                <a:lumMod val="60000"/>
                <a:lumOff val="40000"/>
              </a:srgbClr>
            </a:solidFill>
            <a:ln w="12700" algn="ctr">
              <a:noFill/>
              <a:miter lim="800000"/>
              <a:headEnd/>
              <a:tailEnd/>
            </a:ln>
          </p:spPr>
          <p:txBody>
            <a:bodyPr wrap="square" lIns="0" tIns="0" rIns="0" bIns="0" rtlCol="0" anchor="ctr">
              <a:spAutoFit/>
            </a:bodyPr>
            <a:lstStyle/>
            <a:p>
              <a:pPr marL="173038" marR="0" lvl="0" indent="-180000" algn="ctr" defTabSz="762000" rtl="0" eaLnBrk="0" fontAlgn="auto" latinLnBrk="0" hangingPunct="0">
                <a:lnSpc>
                  <a:spcPct val="100000"/>
                </a:lnSpc>
                <a:spcBef>
                  <a:spcPct val="30000"/>
                </a:spcBef>
                <a:spcAft>
                  <a:spcPts val="0"/>
                </a:spcAft>
                <a:buClr>
                  <a:srgbClr val="2F4D72"/>
                </a:buClr>
                <a:buSzTx/>
                <a:buFont typeface="Arial" panose="020B0604020202020204" pitchFamily="34" charset="0"/>
                <a:buChar char="•"/>
                <a:tabLst/>
                <a:defRPr/>
              </a:pPr>
              <a:endParaRPr kumimoji="0" lang="de-DE" sz="1200" b="0" i="0" u="none" strike="noStrike" kern="0" cap="none" spc="0" normalizeH="0" baseline="0" noProof="0" dirty="0">
                <a:ln>
                  <a:noFill/>
                </a:ln>
                <a:solidFill>
                  <a:srgbClr val="000000">
                    <a:lumMod val="75000"/>
                    <a:lumOff val="25000"/>
                  </a:srgbClr>
                </a:solidFill>
                <a:effectLst/>
                <a:uLnTx/>
                <a:uFillTx/>
                <a:latin typeface="PT Sans"/>
                <a:ea typeface="+mn-ea"/>
                <a:cs typeface="+mn-cs"/>
              </a:endParaRPr>
            </a:p>
          </p:txBody>
        </p:sp>
        <p:sp>
          <p:nvSpPr>
            <p:cNvPr id="70" name="Rechteck 69">
              <a:extLst>
                <a:ext uri="{FF2B5EF4-FFF2-40B4-BE49-F238E27FC236}">
                  <a16:creationId xmlns:a16="http://schemas.microsoft.com/office/drawing/2014/main" id="{04A850B8-A51F-0F88-08C6-8B7FA31D3A19}"/>
                </a:ext>
              </a:extLst>
            </p:cNvPr>
            <p:cNvSpPr/>
            <p:nvPr/>
          </p:nvSpPr>
          <p:spPr bwMode="auto">
            <a:xfrm>
              <a:off x="552452" y="3661059"/>
              <a:ext cx="5761699" cy="879080"/>
            </a:xfrm>
            <a:prstGeom prst="rect">
              <a:avLst/>
            </a:prstGeom>
            <a:solidFill>
              <a:srgbClr val="2F4D72">
                <a:lumMod val="40000"/>
                <a:lumOff val="60000"/>
              </a:srgbClr>
            </a:solidFill>
            <a:ln w="25400" cap="flat" cmpd="sng" algn="ctr">
              <a:solidFill>
                <a:srgbClr val="2F4D72">
                  <a:lumMod val="40000"/>
                  <a:lumOff val="60000"/>
                </a:srgbClr>
              </a:solidFill>
              <a:prstDash val="solid"/>
              <a:headEnd/>
              <a:tailEnd/>
            </a:ln>
            <a:effectLst/>
          </p:spPr>
          <p:txBody>
            <a:bodyPr wrap="square" lIns="0" tIns="0" rIns="0" bIns="0" rtlCol="0" anchor="ctr">
              <a:spAutoFit/>
            </a:bodyPr>
            <a:lstStyle/>
            <a:p>
              <a:pPr marL="173038" marR="0" lvl="0" indent="-180000" algn="ctr" defTabSz="762000" rtl="0" eaLnBrk="0" fontAlgn="auto" latinLnBrk="0" hangingPunct="0">
                <a:lnSpc>
                  <a:spcPct val="100000"/>
                </a:lnSpc>
                <a:spcBef>
                  <a:spcPct val="30000"/>
                </a:spcBef>
                <a:spcAft>
                  <a:spcPts val="0"/>
                </a:spcAft>
                <a:buClr>
                  <a:srgbClr val="2F4D72"/>
                </a:buClr>
                <a:buSzTx/>
                <a:buFont typeface="Arial" panose="020B0604020202020204" pitchFamily="34" charset="0"/>
                <a:buChar char="•"/>
                <a:tabLst/>
                <a:defRPr/>
              </a:pPr>
              <a:endParaRPr kumimoji="0" lang="de-DE" sz="1200" b="0" i="0" u="none" strike="noStrike" kern="0" cap="none" spc="0" normalizeH="0" baseline="0" noProof="0" dirty="0">
                <a:ln>
                  <a:noFill/>
                </a:ln>
                <a:solidFill>
                  <a:srgbClr val="000000">
                    <a:lumMod val="75000"/>
                    <a:lumOff val="25000"/>
                  </a:srgbClr>
                </a:solidFill>
                <a:effectLst/>
                <a:uLnTx/>
                <a:uFillTx/>
                <a:latin typeface="PT Sans"/>
                <a:ea typeface="+mn-ea"/>
                <a:cs typeface="+mn-cs"/>
              </a:endParaRPr>
            </a:p>
          </p:txBody>
        </p:sp>
        <p:sp>
          <p:nvSpPr>
            <p:cNvPr id="71" name="Rechteck 70">
              <a:extLst>
                <a:ext uri="{FF2B5EF4-FFF2-40B4-BE49-F238E27FC236}">
                  <a16:creationId xmlns:a16="http://schemas.microsoft.com/office/drawing/2014/main" id="{C01F8251-AD1A-A16F-F4D9-5B08DF37558D}"/>
                </a:ext>
              </a:extLst>
            </p:cNvPr>
            <p:cNvSpPr/>
            <p:nvPr/>
          </p:nvSpPr>
          <p:spPr bwMode="auto">
            <a:xfrm>
              <a:off x="539762" y="3202597"/>
              <a:ext cx="4359070" cy="458462"/>
            </a:xfrm>
            <a:prstGeom prst="rect">
              <a:avLst/>
            </a:prstGeom>
            <a:solidFill>
              <a:srgbClr val="2F4D72"/>
            </a:solidFill>
            <a:ln w="12700" algn="ctr">
              <a:noFill/>
              <a:miter lim="800000"/>
              <a:headEnd/>
              <a:tailEnd/>
            </a:ln>
          </p:spPr>
          <p:txBody>
            <a:bodyPr wrap="square" lIns="0" tIns="0" rIns="0" bIns="0" rtlCol="0" anchor="ctr">
              <a:spAutoFit/>
            </a:bodyPr>
            <a:lstStyle/>
            <a:p>
              <a:pPr marL="173038" marR="0" lvl="0" indent="-180000" algn="ctr" defTabSz="762000" rtl="0" eaLnBrk="0" fontAlgn="auto" latinLnBrk="0" hangingPunct="0">
                <a:lnSpc>
                  <a:spcPct val="100000"/>
                </a:lnSpc>
                <a:spcBef>
                  <a:spcPct val="30000"/>
                </a:spcBef>
                <a:spcAft>
                  <a:spcPts val="0"/>
                </a:spcAft>
                <a:buClr>
                  <a:srgbClr val="2F4D72"/>
                </a:buClr>
                <a:buSzTx/>
                <a:buFont typeface="Arial" panose="020B0604020202020204" pitchFamily="34" charset="0"/>
                <a:buChar char="•"/>
                <a:tabLst/>
                <a:defRPr/>
              </a:pPr>
              <a:endParaRPr kumimoji="0" lang="de-DE" sz="1200" b="0" i="0" u="none" strike="noStrike" kern="0" cap="none" spc="0" normalizeH="0" baseline="0" noProof="0" dirty="0">
                <a:ln>
                  <a:noFill/>
                </a:ln>
                <a:solidFill>
                  <a:srgbClr val="000000">
                    <a:lumMod val="75000"/>
                    <a:lumOff val="25000"/>
                  </a:srgbClr>
                </a:solidFill>
                <a:effectLst/>
                <a:uLnTx/>
                <a:uFillTx/>
                <a:latin typeface="PT Sans"/>
                <a:ea typeface="+mn-ea"/>
                <a:cs typeface="+mn-cs"/>
              </a:endParaRPr>
            </a:p>
          </p:txBody>
        </p:sp>
        <p:sp>
          <p:nvSpPr>
            <p:cNvPr id="72" name="Textfeld 71">
              <a:extLst>
                <a:ext uri="{FF2B5EF4-FFF2-40B4-BE49-F238E27FC236}">
                  <a16:creationId xmlns:a16="http://schemas.microsoft.com/office/drawing/2014/main" id="{1154EFFE-18A8-6719-9A4B-2F17430580F0}"/>
                </a:ext>
              </a:extLst>
            </p:cNvPr>
            <p:cNvSpPr txBox="1"/>
            <p:nvPr/>
          </p:nvSpPr>
          <p:spPr>
            <a:xfrm>
              <a:off x="1358047" y="4743866"/>
              <a:ext cx="3998653" cy="532242"/>
            </a:xfrm>
            <a:prstGeom prst="rect">
              <a:avLst/>
            </a:prstGeom>
            <a:noFill/>
          </p:spPr>
          <p:txBody>
            <a:bodyPr wrap="square" rtlCol="0">
              <a:noAutofit/>
            </a:bodyPr>
            <a:lstStyle/>
            <a:p>
              <a:pPr marL="0" marR="0" lvl="0" indent="0" algn="l" defTabSz="457200" rtl="0" eaLnBrk="1" fontAlgn="auto" latinLnBrk="0" hangingPunct="1">
                <a:lnSpc>
                  <a:spcPct val="100000"/>
                </a:lnSpc>
                <a:spcBef>
                  <a:spcPts val="0"/>
                </a:spcBef>
                <a:spcAft>
                  <a:spcPts val="0"/>
                </a:spcAft>
                <a:buClr>
                  <a:srgbClr val="0081A6"/>
                </a:buClr>
                <a:buSzTx/>
                <a:buFontTx/>
                <a:buNone/>
                <a:tabLst/>
                <a:defRPr/>
              </a:pPr>
              <a:r>
                <a:rPr kumimoji="0" lang="de-DE" sz="1600" b="0" i="0" u="none" strike="noStrike" kern="1200" cap="none" spc="0" normalizeH="0" baseline="0" noProof="0" dirty="0">
                  <a:ln>
                    <a:noFill/>
                  </a:ln>
                  <a:effectLst/>
                  <a:uLnTx/>
                  <a:uFillTx/>
                  <a:ea typeface="Yu Gothic Light" panose="020B0300000000000000" pitchFamily="34" charset="-128"/>
                  <a:cs typeface="+mn-cs"/>
                </a:rPr>
                <a:t>Immobilienfinanzierung (oder Miete?)</a:t>
              </a:r>
            </a:p>
          </p:txBody>
        </p:sp>
        <p:sp>
          <p:nvSpPr>
            <p:cNvPr id="73" name="Textfeld 72">
              <a:extLst>
                <a:ext uri="{FF2B5EF4-FFF2-40B4-BE49-F238E27FC236}">
                  <a16:creationId xmlns:a16="http://schemas.microsoft.com/office/drawing/2014/main" id="{19557D06-3584-8471-96A3-589D23C19FB7}"/>
                </a:ext>
              </a:extLst>
            </p:cNvPr>
            <p:cNvSpPr txBox="1"/>
            <p:nvPr/>
          </p:nvSpPr>
          <p:spPr>
            <a:xfrm>
              <a:off x="1365180" y="2985348"/>
              <a:ext cx="3557745" cy="565118"/>
            </a:xfrm>
            <a:prstGeom prst="rect">
              <a:avLst/>
            </a:prstGeom>
            <a:noFill/>
          </p:spPr>
          <p:txBody>
            <a:bodyPr wrap="square" rtlCol="0">
              <a:noAutofit/>
            </a:bodyPr>
            <a:lstStyle/>
            <a:p>
              <a:pPr marL="0" marR="0" lvl="0" indent="0" algn="l" defTabSz="457200" rtl="0" eaLnBrk="1" fontAlgn="auto" latinLnBrk="0" hangingPunct="1">
                <a:lnSpc>
                  <a:spcPct val="114000"/>
                </a:lnSpc>
                <a:spcBef>
                  <a:spcPts val="600"/>
                </a:spcBef>
                <a:spcAft>
                  <a:spcPts val="0"/>
                </a:spcAft>
                <a:buClr>
                  <a:srgbClr val="0081A6"/>
                </a:buClr>
                <a:buSzTx/>
                <a:buFontTx/>
                <a:buNone/>
                <a:tabLst/>
                <a:defRPr/>
              </a:pPr>
              <a:r>
                <a:rPr kumimoji="0" lang="de-DE" sz="1600" b="0" i="0" u="none" strike="noStrike" kern="1200" cap="none" spc="0" normalizeH="0" baseline="0" noProof="0" dirty="0">
                  <a:ln>
                    <a:noFill/>
                  </a:ln>
                  <a:solidFill>
                    <a:srgbClr val="FFFFFF"/>
                  </a:solidFill>
                  <a:effectLst/>
                  <a:uLnTx/>
                  <a:uFillTx/>
                  <a:ea typeface="Yu Gothic Light" panose="020B0300000000000000" pitchFamily="34" charset="-128"/>
                  <a:cs typeface="+mn-cs"/>
                </a:rPr>
                <a:t>Ausgaben in Bezug auf die </a:t>
              </a:r>
              <a:r>
                <a:rPr kumimoji="0" lang="de-DE" sz="1600" b="1" i="0" u="none" strike="noStrike" kern="1200" cap="none" spc="0" normalizeH="0" baseline="0" noProof="0" dirty="0">
                  <a:ln>
                    <a:noFill/>
                  </a:ln>
                  <a:solidFill>
                    <a:srgbClr val="FFFFFF"/>
                  </a:solidFill>
                  <a:effectLst/>
                  <a:uLnTx/>
                  <a:uFillTx/>
                  <a:ea typeface="Yu Gothic Light" panose="020B0300000000000000" pitchFamily="34" charset="-128"/>
                  <a:cs typeface="+mn-cs"/>
                </a:rPr>
                <a:t>Kinder</a:t>
              </a:r>
            </a:p>
          </p:txBody>
        </p:sp>
        <p:sp>
          <p:nvSpPr>
            <p:cNvPr id="74" name="Textfeld 73">
              <a:extLst>
                <a:ext uri="{FF2B5EF4-FFF2-40B4-BE49-F238E27FC236}">
                  <a16:creationId xmlns:a16="http://schemas.microsoft.com/office/drawing/2014/main" id="{09E75FC9-7CF1-12C7-6A3D-95372D48C0F6}"/>
                </a:ext>
              </a:extLst>
            </p:cNvPr>
            <p:cNvSpPr txBox="1"/>
            <p:nvPr/>
          </p:nvSpPr>
          <p:spPr>
            <a:xfrm>
              <a:off x="1361794" y="3717032"/>
              <a:ext cx="4734205" cy="648956"/>
            </a:xfrm>
            <a:prstGeom prst="rect">
              <a:avLst/>
            </a:prstGeom>
            <a:noFill/>
          </p:spPr>
          <p:txBody>
            <a:bodyPr wrap="square" rtlCol="0">
              <a:noAutofit/>
            </a:bodyPr>
            <a:lstStyle/>
            <a:p>
              <a:pPr marL="0" marR="0" lvl="0" indent="0" algn="l" defTabSz="457200" rtl="0" eaLnBrk="1" fontAlgn="auto" latinLnBrk="0" hangingPunct="1">
                <a:lnSpc>
                  <a:spcPct val="114000"/>
                </a:lnSpc>
                <a:spcBef>
                  <a:spcPts val="600"/>
                </a:spcBef>
                <a:spcAft>
                  <a:spcPts val="0"/>
                </a:spcAft>
                <a:buClr>
                  <a:srgbClr val="0081A6"/>
                </a:buClr>
                <a:buSzTx/>
                <a:buFontTx/>
                <a:buNone/>
                <a:tabLst/>
                <a:defRPr/>
              </a:pPr>
              <a:r>
                <a:rPr kumimoji="0" lang="de-DE" sz="1600" b="0" i="0" u="none" strike="noStrike" kern="1200" cap="none" spc="0" normalizeH="0" baseline="0" noProof="0" dirty="0">
                  <a:ln>
                    <a:noFill/>
                  </a:ln>
                  <a:effectLst/>
                  <a:uLnTx/>
                  <a:uFillTx/>
                  <a:ea typeface="Yu Gothic Light" panose="020B0300000000000000" pitchFamily="34" charset="-128"/>
                  <a:cs typeface="+mn-cs"/>
                </a:rPr>
                <a:t>Lebensqualität: Ausgaben für </a:t>
              </a:r>
              <a:br>
                <a:rPr kumimoji="0" lang="de-DE" sz="1600" b="0" i="0" u="none" strike="noStrike" kern="1200" cap="none" spc="0" normalizeH="0" baseline="0" noProof="0" dirty="0">
                  <a:ln>
                    <a:noFill/>
                  </a:ln>
                  <a:effectLst/>
                  <a:uLnTx/>
                  <a:uFillTx/>
                  <a:ea typeface="Yu Gothic Light" panose="020B0300000000000000" pitchFamily="34" charset="-128"/>
                  <a:cs typeface="+mn-cs"/>
                </a:rPr>
              </a:br>
              <a:r>
                <a:rPr kumimoji="0" lang="de-DE" sz="1600" b="0" i="0" u="none" strike="noStrike" kern="1200" cap="none" spc="0" normalizeH="0" baseline="0" noProof="0" dirty="0">
                  <a:ln>
                    <a:noFill/>
                  </a:ln>
                  <a:effectLst/>
                  <a:uLnTx/>
                  <a:uFillTx/>
                  <a:ea typeface="Yu Gothic Light" panose="020B0300000000000000" pitchFamily="34" charset="-128"/>
                  <a:cs typeface="+mn-cs"/>
                </a:rPr>
                <a:t>Essen, Mobilität, Freizeit und Zukunftssicherung</a:t>
              </a:r>
            </a:p>
          </p:txBody>
        </p:sp>
        <p:sp>
          <p:nvSpPr>
            <p:cNvPr id="75" name="Rechteck 74">
              <a:extLst>
                <a:ext uri="{FF2B5EF4-FFF2-40B4-BE49-F238E27FC236}">
                  <a16:creationId xmlns:a16="http://schemas.microsoft.com/office/drawing/2014/main" id="{AB111779-ED65-F40B-17D2-637F83E43229}"/>
                </a:ext>
              </a:extLst>
            </p:cNvPr>
            <p:cNvSpPr/>
            <p:nvPr/>
          </p:nvSpPr>
          <p:spPr bwMode="auto">
            <a:xfrm>
              <a:off x="3519927" y="1714771"/>
              <a:ext cx="4233421" cy="202061"/>
            </a:xfrm>
            <a:prstGeom prst="rect">
              <a:avLst/>
            </a:prstGeom>
            <a:solidFill>
              <a:srgbClr val="FFFFFF">
                <a:lumMod val="75000"/>
              </a:srgbClr>
            </a:solidFill>
            <a:ln w="12700" algn="ctr">
              <a:noFill/>
              <a:miter lim="800000"/>
              <a:headEnd/>
              <a:tailEnd/>
            </a:ln>
          </p:spPr>
          <p:txBody>
            <a:bodyPr wrap="square" lIns="0" tIns="0" rIns="0" bIns="0" rtlCol="0" anchor="ctr">
              <a:spAutoFit/>
            </a:bodyPr>
            <a:lstStyle/>
            <a:p>
              <a:pPr marL="173038" marR="0" lvl="0" indent="-180000" algn="ctr" defTabSz="762000" rtl="0" eaLnBrk="0" fontAlgn="auto" latinLnBrk="0" hangingPunct="0">
                <a:lnSpc>
                  <a:spcPct val="100000"/>
                </a:lnSpc>
                <a:spcBef>
                  <a:spcPct val="30000"/>
                </a:spcBef>
                <a:spcAft>
                  <a:spcPts val="0"/>
                </a:spcAft>
                <a:buClr>
                  <a:srgbClr val="2F4D72"/>
                </a:buClr>
                <a:buSzTx/>
                <a:buFont typeface="Arial" panose="020B0604020202020204" pitchFamily="34" charset="0"/>
                <a:buChar char="•"/>
                <a:tabLst/>
                <a:defRPr/>
              </a:pPr>
              <a:endParaRPr kumimoji="0" lang="de-DE" sz="1200" b="0" i="0" u="none" strike="noStrike" kern="0" cap="none" spc="0" normalizeH="0" baseline="0" noProof="0" dirty="0">
                <a:ln>
                  <a:noFill/>
                </a:ln>
                <a:solidFill>
                  <a:srgbClr val="000000">
                    <a:lumMod val="75000"/>
                    <a:lumOff val="25000"/>
                  </a:srgbClr>
                </a:solidFill>
                <a:effectLst/>
                <a:uLnTx/>
                <a:uFillTx/>
                <a:latin typeface="PT Sans"/>
                <a:ea typeface="+mn-ea"/>
                <a:cs typeface="+mn-cs"/>
              </a:endParaRPr>
            </a:p>
          </p:txBody>
        </p:sp>
        <p:sp>
          <p:nvSpPr>
            <p:cNvPr id="76" name="Gleichschenkliges Dreieck 75">
              <a:extLst>
                <a:ext uri="{FF2B5EF4-FFF2-40B4-BE49-F238E27FC236}">
                  <a16:creationId xmlns:a16="http://schemas.microsoft.com/office/drawing/2014/main" id="{D5E3F31F-D4EC-A17A-5ADA-73B402C5640E}"/>
                </a:ext>
              </a:extLst>
            </p:cNvPr>
            <p:cNvSpPr/>
            <p:nvPr/>
          </p:nvSpPr>
          <p:spPr bwMode="auto">
            <a:xfrm>
              <a:off x="515669" y="3234259"/>
              <a:ext cx="5810400" cy="432000"/>
            </a:xfrm>
            <a:prstGeom prst="triangle">
              <a:avLst>
                <a:gd name="adj" fmla="val 100000"/>
              </a:avLst>
            </a:prstGeom>
            <a:solidFill>
              <a:srgbClr val="2F4D72">
                <a:lumMod val="40000"/>
                <a:lumOff val="60000"/>
              </a:srgbClr>
            </a:solidFill>
            <a:ln w="12700" algn="ctr">
              <a:noFill/>
              <a:miter lim="800000"/>
              <a:headEnd/>
              <a:tailEnd/>
            </a:ln>
          </p:spPr>
          <p:txBody>
            <a:bodyPr wrap="square" lIns="0" tIns="0" rIns="0" bIns="0" rtlCol="0" anchor="ctr">
              <a:spAutoFit/>
            </a:bodyPr>
            <a:lstStyle/>
            <a:p>
              <a:pPr marL="173038" marR="0" lvl="0" indent="-180000" algn="ctr" defTabSz="762000" rtl="0" eaLnBrk="0" fontAlgn="auto" latinLnBrk="0" hangingPunct="0">
                <a:lnSpc>
                  <a:spcPct val="100000"/>
                </a:lnSpc>
                <a:spcBef>
                  <a:spcPct val="30000"/>
                </a:spcBef>
                <a:spcAft>
                  <a:spcPts val="0"/>
                </a:spcAft>
                <a:buClr>
                  <a:srgbClr val="2F4D72"/>
                </a:buClr>
                <a:buSzTx/>
                <a:buFont typeface="Arial" panose="020B0604020202020204" pitchFamily="34" charset="0"/>
                <a:buChar char="•"/>
                <a:tabLst/>
                <a:defRPr/>
              </a:pPr>
              <a:endParaRPr kumimoji="0" lang="de-DE" sz="1200" b="0" i="0" u="none" strike="noStrike" kern="0" cap="none" spc="0" normalizeH="0" baseline="0" noProof="0" dirty="0">
                <a:ln>
                  <a:noFill/>
                </a:ln>
                <a:solidFill>
                  <a:srgbClr val="000000">
                    <a:lumMod val="75000"/>
                    <a:lumOff val="25000"/>
                  </a:srgbClr>
                </a:solidFill>
                <a:effectLst/>
                <a:uLnTx/>
                <a:uFillTx/>
                <a:latin typeface="PT Sans"/>
                <a:ea typeface="+mn-ea"/>
                <a:cs typeface="+mn-cs"/>
              </a:endParaRPr>
            </a:p>
          </p:txBody>
        </p:sp>
        <p:sp>
          <p:nvSpPr>
            <p:cNvPr id="77" name="Textfeld 76">
              <a:extLst>
                <a:ext uri="{FF2B5EF4-FFF2-40B4-BE49-F238E27FC236}">
                  <a16:creationId xmlns:a16="http://schemas.microsoft.com/office/drawing/2014/main" id="{247229AD-DDC2-DCB7-ACE3-226C0BA42D12}"/>
                </a:ext>
              </a:extLst>
            </p:cNvPr>
            <p:cNvSpPr txBox="1"/>
            <p:nvPr/>
          </p:nvSpPr>
          <p:spPr>
            <a:xfrm>
              <a:off x="3791744" y="1700808"/>
              <a:ext cx="4381539" cy="465685"/>
            </a:xfrm>
            <a:prstGeom prst="rect">
              <a:avLst/>
            </a:prstGeom>
            <a:noFill/>
          </p:spPr>
          <p:txBody>
            <a:bodyPr wrap="square" rtlCol="0">
              <a:noAutofit/>
            </a:bodyPr>
            <a:lstStyle/>
            <a:p>
              <a:pPr marL="0" marR="0" lvl="0" indent="0" algn="l" defTabSz="457200" rtl="0" eaLnBrk="1" fontAlgn="auto" latinLnBrk="0" hangingPunct="1">
                <a:lnSpc>
                  <a:spcPct val="100000"/>
                </a:lnSpc>
                <a:spcBef>
                  <a:spcPts val="0"/>
                </a:spcBef>
                <a:spcAft>
                  <a:spcPts val="0"/>
                </a:spcAft>
                <a:buClr>
                  <a:srgbClr val="0081A6"/>
                </a:buClr>
                <a:buSzTx/>
                <a:buFontTx/>
                <a:buNone/>
                <a:tabLst/>
                <a:defRPr/>
              </a:pPr>
              <a:r>
                <a:rPr kumimoji="0" lang="de-DE" sz="1600" b="1" i="0" u="none" strike="noStrike" kern="1200" cap="none" spc="0" normalizeH="0" baseline="0" noProof="0" dirty="0">
                  <a:ln>
                    <a:noFill/>
                  </a:ln>
                  <a:effectLst/>
                  <a:uLnTx/>
                  <a:uFillTx/>
                  <a:ea typeface="Yu Gothic Light" panose="020B0300000000000000" pitchFamily="34" charset="-128"/>
                  <a:cs typeface="+mn-cs"/>
                </a:rPr>
                <a:t>Die gesamten Einnahmen </a:t>
              </a:r>
              <a:br>
                <a:rPr kumimoji="0" lang="de-DE" sz="1600" b="0" i="0" u="none" strike="noStrike" kern="1200" cap="none" spc="0" normalizeH="0" baseline="0" noProof="0" dirty="0">
                  <a:ln>
                    <a:noFill/>
                  </a:ln>
                  <a:effectLst/>
                  <a:uLnTx/>
                  <a:uFillTx/>
                  <a:ea typeface="Yu Gothic Light" panose="020B0300000000000000" pitchFamily="34" charset="-128"/>
                  <a:cs typeface="+mn-cs"/>
                </a:rPr>
              </a:br>
              <a:r>
                <a:rPr kumimoji="0" lang="de-DE" sz="1600" b="0" i="0" u="none" strike="noStrike" kern="1200" cap="none" spc="0" normalizeH="0" baseline="0" noProof="0" dirty="0">
                  <a:ln>
                    <a:noFill/>
                  </a:ln>
                  <a:effectLst/>
                  <a:uLnTx/>
                  <a:uFillTx/>
                  <a:ea typeface="Yu Gothic Light" panose="020B0300000000000000" pitchFamily="34" charset="-128"/>
                  <a:cs typeface="+mn-cs"/>
                </a:rPr>
                <a:t>(inkl. Karrieresprüngen/Lohnsteigerungen)</a:t>
              </a:r>
            </a:p>
          </p:txBody>
        </p:sp>
        <p:cxnSp>
          <p:nvCxnSpPr>
            <p:cNvPr id="78" name="Gerader Verbinder 77">
              <a:extLst>
                <a:ext uri="{FF2B5EF4-FFF2-40B4-BE49-F238E27FC236}">
                  <a16:creationId xmlns:a16="http://schemas.microsoft.com/office/drawing/2014/main" id="{6BB266A4-16BB-D13A-A286-9B455D8122E4}"/>
                </a:ext>
              </a:extLst>
            </p:cNvPr>
            <p:cNvCxnSpPr/>
            <p:nvPr/>
          </p:nvCxnSpPr>
          <p:spPr>
            <a:xfrm>
              <a:off x="542927" y="1567524"/>
              <a:ext cx="0" cy="4042264"/>
            </a:xfrm>
            <a:prstGeom prst="line">
              <a:avLst/>
            </a:prstGeom>
            <a:noFill/>
            <a:ln w="19050" cap="flat" cmpd="sng" algn="ctr">
              <a:solidFill>
                <a:srgbClr val="FFFFFF">
                  <a:lumMod val="50000"/>
                </a:srgbClr>
              </a:solidFill>
              <a:prstDash val="solid"/>
            </a:ln>
            <a:effectLst/>
          </p:spPr>
        </p:cxnSp>
        <p:cxnSp>
          <p:nvCxnSpPr>
            <p:cNvPr id="79" name="Gerader Verbinder 78">
              <a:extLst>
                <a:ext uri="{FF2B5EF4-FFF2-40B4-BE49-F238E27FC236}">
                  <a16:creationId xmlns:a16="http://schemas.microsoft.com/office/drawing/2014/main" id="{7246E34E-5902-77CC-6B51-F7FB34BC7F1E}"/>
                </a:ext>
              </a:extLst>
            </p:cNvPr>
            <p:cNvCxnSpPr>
              <a:cxnSpLocks/>
            </p:cNvCxnSpPr>
            <p:nvPr/>
          </p:nvCxnSpPr>
          <p:spPr>
            <a:xfrm>
              <a:off x="552452" y="5600263"/>
              <a:ext cx="10764539" cy="0"/>
            </a:xfrm>
            <a:prstGeom prst="line">
              <a:avLst/>
            </a:prstGeom>
            <a:noFill/>
            <a:ln w="19050" cap="flat" cmpd="sng" algn="ctr">
              <a:solidFill>
                <a:srgbClr val="FFFFFF">
                  <a:lumMod val="50000"/>
                </a:srgbClr>
              </a:solidFill>
              <a:prstDash val="solid"/>
            </a:ln>
            <a:effectLst/>
          </p:spPr>
        </p:cxnSp>
        <p:cxnSp>
          <p:nvCxnSpPr>
            <p:cNvPr id="80" name="Gerade Verbindung mit Pfeil 79">
              <a:extLst>
                <a:ext uri="{FF2B5EF4-FFF2-40B4-BE49-F238E27FC236}">
                  <a16:creationId xmlns:a16="http://schemas.microsoft.com/office/drawing/2014/main" id="{98F7AA4E-DACC-1C45-423E-5C536718EB68}"/>
                </a:ext>
              </a:extLst>
            </p:cNvPr>
            <p:cNvCxnSpPr>
              <a:cxnSpLocks/>
            </p:cNvCxnSpPr>
            <p:nvPr/>
          </p:nvCxnSpPr>
          <p:spPr>
            <a:xfrm>
              <a:off x="7761096" y="3849305"/>
              <a:ext cx="0" cy="1595919"/>
            </a:xfrm>
            <a:prstGeom prst="straightConnector1">
              <a:avLst/>
            </a:prstGeom>
            <a:ln w="63500">
              <a:solidFill>
                <a:srgbClr val="CE2828"/>
              </a:solidFill>
              <a:tailEnd type="triangle"/>
            </a:ln>
          </p:spPr>
          <p:style>
            <a:lnRef idx="1">
              <a:schemeClr val="accent1"/>
            </a:lnRef>
            <a:fillRef idx="0">
              <a:schemeClr val="accent1"/>
            </a:fillRef>
            <a:effectRef idx="0">
              <a:schemeClr val="accent1"/>
            </a:effectRef>
            <a:fontRef idx="minor">
              <a:schemeClr val="tx1"/>
            </a:fontRef>
          </p:style>
        </p:cxnSp>
        <p:sp>
          <p:nvSpPr>
            <p:cNvPr id="81" name="Textfeld 80">
              <a:extLst>
                <a:ext uri="{FF2B5EF4-FFF2-40B4-BE49-F238E27FC236}">
                  <a16:creationId xmlns:a16="http://schemas.microsoft.com/office/drawing/2014/main" id="{F7EA8F5F-92BA-6286-F7C7-3BEFFAAA0692}"/>
                </a:ext>
              </a:extLst>
            </p:cNvPr>
            <p:cNvSpPr txBox="1"/>
            <p:nvPr/>
          </p:nvSpPr>
          <p:spPr>
            <a:xfrm>
              <a:off x="8229760" y="4418015"/>
              <a:ext cx="3177553" cy="648956"/>
            </a:xfrm>
            <a:prstGeom prst="rect">
              <a:avLst/>
            </a:prstGeom>
            <a:noFill/>
          </p:spPr>
          <p:txBody>
            <a:bodyPr wrap="square" rtlCol="0">
              <a:noAutofit/>
            </a:bodyPr>
            <a:lstStyle/>
            <a:p>
              <a:pPr marL="0" marR="0" lvl="0" indent="0" algn="l" defTabSz="457200" rtl="0" eaLnBrk="1" fontAlgn="auto" latinLnBrk="0" hangingPunct="1">
                <a:lnSpc>
                  <a:spcPct val="114000"/>
                </a:lnSpc>
                <a:spcBef>
                  <a:spcPts val="600"/>
                </a:spcBef>
                <a:spcAft>
                  <a:spcPts val="0"/>
                </a:spcAft>
                <a:buClr>
                  <a:srgbClr val="0081A6"/>
                </a:buClr>
                <a:buSzTx/>
                <a:buFontTx/>
                <a:buNone/>
                <a:tabLst/>
                <a:defRPr/>
              </a:pPr>
              <a:r>
                <a:rPr kumimoji="0" lang="de-DE" sz="1600" b="1" i="0" u="none" strike="noStrike" kern="1200" cap="none" spc="0" normalizeH="0" baseline="0" noProof="0" dirty="0">
                  <a:ln>
                    <a:noFill/>
                  </a:ln>
                  <a:effectLst/>
                  <a:uLnTx/>
                  <a:uFillTx/>
                  <a:ea typeface="Yu Gothic Light" panose="020B0300000000000000" pitchFamily="34" charset="-128"/>
                  <a:cs typeface="+mn-cs"/>
                </a:rPr>
                <a:t>365 Tage Urlaub pro Jahr </a:t>
              </a:r>
              <a:br>
                <a:rPr kumimoji="0" lang="de-DE" sz="1600" b="0" i="0" u="none" strike="noStrike" kern="1200" cap="none" spc="0" normalizeH="0" baseline="0" noProof="0" dirty="0">
                  <a:ln>
                    <a:noFill/>
                  </a:ln>
                  <a:effectLst/>
                  <a:uLnTx/>
                  <a:uFillTx/>
                  <a:ea typeface="Yu Gothic Light" panose="020B0300000000000000" pitchFamily="34" charset="-128"/>
                  <a:cs typeface="+mn-cs"/>
                </a:rPr>
              </a:br>
              <a:r>
                <a:rPr kumimoji="0" lang="de-DE" sz="1600" b="0" i="0" u="none" strike="noStrike" kern="1200" cap="none" spc="0" normalizeH="0" baseline="0" noProof="0" dirty="0">
                  <a:ln>
                    <a:noFill/>
                  </a:ln>
                  <a:effectLst/>
                  <a:uLnTx/>
                  <a:uFillTx/>
                  <a:ea typeface="Yu Gothic Light" panose="020B0300000000000000" pitchFamily="34" charset="-128"/>
                  <a:cs typeface="+mn-cs"/>
                </a:rPr>
                <a:t>(Reisen, Enkelkinder, Luxus,...) </a:t>
              </a:r>
            </a:p>
          </p:txBody>
        </p:sp>
        <p:sp>
          <p:nvSpPr>
            <p:cNvPr id="82" name="Textfeld 81">
              <a:extLst>
                <a:ext uri="{FF2B5EF4-FFF2-40B4-BE49-F238E27FC236}">
                  <a16:creationId xmlns:a16="http://schemas.microsoft.com/office/drawing/2014/main" id="{5483EE49-E78E-3311-2F39-3452AEBDA5C9}"/>
                </a:ext>
              </a:extLst>
            </p:cNvPr>
            <p:cNvSpPr txBox="1"/>
            <p:nvPr/>
          </p:nvSpPr>
          <p:spPr>
            <a:xfrm>
              <a:off x="17594" y="1279759"/>
              <a:ext cx="2007798" cy="438523"/>
            </a:xfrm>
            <a:prstGeom prst="rect">
              <a:avLst/>
            </a:prstGeom>
            <a:noFill/>
          </p:spPr>
          <p:txBody>
            <a:bodyPr wrap="none" rtlCol="0">
              <a:noAutofit/>
            </a:bodyPr>
            <a:lstStyle/>
            <a:p>
              <a:pPr marL="0" marR="0" lvl="0" indent="0" algn="l" defTabSz="457200" rtl="0" eaLnBrk="1" fontAlgn="auto" latinLnBrk="0" hangingPunct="1">
                <a:lnSpc>
                  <a:spcPct val="100000"/>
                </a:lnSpc>
                <a:spcBef>
                  <a:spcPts val="0"/>
                </a:spcBef>
                <a:spcAft>
                  <a:spcPts val="0"/>
                </a:spcAft>
                <a:buClr>
                  <a:srgbClr val="0081A6"/>
                </a:buClr>
                <a:buSzTx/>
                <a:buFontTx/>
                <a:buNone/>
                <a:tabLst/>
                <a:defRPr/>
              </a:pPr>
              <a:r>
                <a:rPr kumimoji="0" lang="de-DE" sz="1400" b="1" i="0" u="none" strike="noStrike" kern="1200" cap="none" spc="0" normalizeH="0" baseline="0" noProof="0" dirty="0">
                  <a:ln>
                    <a:noFill/>
                  </a:ln>
                  <a:effectLst/>
                  <a:uLnTx/>
                  <a:uFillTx/>
                  <a:ea typeface="Yu Gothic Light" panose="020B0300000000000000" pitchFamily="34" charset="-128"/>
                  <a:cs typeface="+mn-cs"/>
                </a:rPr>
                <a:t>Netto-Einkommen</a:t>
              </a:r>
            </a:p>
          </p:txBody>
        </p:sp>
      </p:grpSp>
      <p:sp>
        <p:nvSpPr>
          <p:cNvPr id="83" name="Textfeld 82">
            <a:extLst>
              <a:ext uri="{FF2B5EF4-FFF2-40B4-BE49-F238E27FC236}">
                <a16:creationId xmlns:a16="http://schemas.microsoft.com/office/drawing/2014/main" id="{431C1840-F7B2-8867-343D-8DA30434B4F9}"/>
              </a:ext>
            </a:extLst>
          </p:cNvPr>
          <p:cNvSpPr txBox="1"/>
          <p:nvPr/>
        </p:nvSpPr>
        <p:spPr>
          <a:xfrm>
            <a:off x="7340880" y="3392554"/>
            <a:ext cx="4154299" cy="648956"/>
          </a:xfrm>
          <a:prstGeom prst="rect">
            <a:avLst/>
          </a:prstGeom>
          <a:noFill/>
        </p:spPr>
        <p:txBody>
          <a:bodyPr wrap="square" rtlCol="0">
            <a:noAutofit/>
          </a:bodyPr>
          <a:lstStyle/>
          <a:p>
            <a:pPr marL="0" marR="0" lvl="0" indent="0" algn="l" defTabSz="457200" rtl="0" eaLnBrk="1" fontAlgn="auto" latinLnBrk="0" hangingPunct="1">
              <a:lnSpc>
                <a:spcPct val="114000"/>
              </a:lnSpc>
              <a:spcBef>
                <a:spcPts val="600"/>
              </a:spcBef>
              <a:spcAft>
                <a:spcPts val="0"/>
              </a:spcAft>
              <a:buClr>
                <a:srgbClr val="0081A6"/>
              </a:buClr>
              <a:buSzTx/>
              <a:buFontTx/>
              <a:buNone/>
              <a:tabLst/>
              <a:defRPr/>
            </a:pPr>
            <a:r>
              <a:rPr kumimoji="0" lang="de-DE" sz="1600" b="1" i="0" u="none" strike="noStrike" kern="1200" cap="none" spc="0" normalizeH="0" baseline="0" noProof="0" dirty="0">
                <a:ln>
                  <a:noFill/>
                </a:ln>
                <a:effectLst/>
                <a:uLnTx/>
                <a:uFillTx/>
                <a:ea typeface="Yu Gothic Light" panose="020B0300000000000000" pitchFamily="34" charset="-128"/>
                <a:cs typeface="+mn-cs"/>
              </a:rPr>
              <a:t>Rentenlücke!?!</a:t>
            </a:r>
            <a:endParaRPr kumimoji="0" lang="de-DE" sz="1600" b="0" i="0" u="none" strike="noStrike" kern="1200" cap="none" spc="0" normalizeH="0" baseline="0" noProof="0" dirty="0">
              <a:ln>
                <a:noFill/>
              </a:ln>
              <a:effectLst/>
              <a:uLnTx/>
              <a:uFillTx/>
              <a:ea typeface="Yu Gothic Light" panose="020B0300000000000000" pitchFamily="34" charset="-128"/>
              <a:cs typeface="+mn-cs"/>
            </a:endParaRPr>
          </a:p>
        </p:txBody>
      </p:sp>
    </p:spTree>
    <p:extLst>
      <p:ext uri="{BB962C8B-B14F-4D97-AF65-F5344CB8AC3E}">
        <p14:creationId xmlns:p14="http://schemas.microsoft.com/office/powerpoint/2010/main" val="204595858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83"/>
                                        </p:tgtEl>
                                        <p:attrNameLst>
                                          <p:attrName>style.visibility</p:attrName>
                                        </p:attrNameLst>
                                      </p:cBhvr>
                                      <p:to>
                                        <p:strVal val="visible"/>
                                      </p:to>
                                    </p:set>
                                    <p:animEffect transition="in" filter="fade">
                                      <p:cBhvr>
                                        <p:cTn id="7" dur="500"/>
                                        <p:tgtEl>
                                          <p:spTgt spid="8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3" grpId="0"/>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7FFF7E21-80BF-46C9-B8E4-2728DDBB8D9D}"/>
              </a:ext>
            </a:extLst>
          </p:cNvPr>
          <p:cNvGraphicFramePr>
            <a:graphicFrameLocks noChangeAspect="1"/>
          </p:cNvGraphicFramePr>
          <p:nvPr>
            <p:custDataLst>
              <p:tags r:id="rId1"/>
            </p:custDataLst>
            <p:extLst>
              <p:ext uri="{D42A27DB-BD31-4B8C-83A1-F6EECF244321}">
                <p14:modId xmlns:p14="http://schemas.microsoft.com/office/powerpoint/2010/main" val="8604337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3" name="Objekt 2" hidden="1">
                        <a:extLst>
                          <a:ext uri="{FF2B5EF4-FFF2-40B4-BE49-F238E27FC236}">
                            <a16:creationId xmlns:a16="http://schemas.microsoft.com/office/drawing/2014/main" id="{7FFF7E21-80BF-46C9-B8E4-2728DDBB8D9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Bildplatzhalter 9" descr="Ein Bild, das Person, Frau, Getränk, Restaurant enthält.&#10;&#10;Automatisch generierte Beschreibung">
            <a:extLst>
              <a:ext uri="{FF2B5EF4-FFF2-40B4-BE49-F238E27FC236}">
                <a16:creationId xmlns:a16="http://schemas.microsoft.com/office/drawing/2014/main" id="{3D95A2D8-ED38-45CE-8F73-7CC7F60CE745}"/>
              </a:ext>
            </a:extLst>
          </p:cNvPr>
          <p:cNvPicPr>
            <a:picLocks noGrp="1" noChangeAspect="1"/>
          </p:cNvPicPr>
          <p:nvPr>
            <p:ph type="pic" sz="quarter" idx="14"/>
          </p:nvPr>
        </p:nvPicPr>
        <p:blipFill rotWithShape="1">
          <a:blip r:embed="rId5"/>
          <a:srcRect t="9067" b="9067"/>
          <a:stretch/>
        </p:blipFill>
        <p:spPr>
          <a:xfrm>
            <a:off x="200438" y="211702"/>
            <a:ext cx="11791121" cy="6434593"/>
          </a:xfrm>
        </p:spPr>
      </p:pic>
      <p:sp>
        <p:nvSpPr>
          <p:cNvPr id="14" name="Titel 13">
            <a:extLst>
              <a:ext uri="{FF2B5EF4-FFF2-40B4-BE49-F238E27FC236}">
                <a16:creationId xmlns:a16="http://schemas.microsoft.com/office/drawing/2014/main" id="{5D72B112-29C1-4C7A-B333-C111231DADBE}"/>
              </a:ext>
            </a:extLst>
          </p:cNvPr>
          <p:cNvSpPr>
            <a:spLocks noGrp="1"/>
          </p:cNvSpPr>
          <p:nvPr>
            <p:ph type="ctrTitle"/>
          </p:nvPr>
        </p:nvSpPr>
        <p:spPr>
          <a:xfrm>
            <a:off x="1042286" y="4182990"/>
            <a:ext cx="4332989" cy="893771"/>
          </a:xfrm>
        </p:spPr>
        <p:txBody>
          <a:bodyPr vert="horz"/>
          <a:lstStyle/>
          <a:p>
            <a:r>
              <a:rPr lang="de-DE" dirty="0"/>
              <a:t>Herzlichen Dank!</a:t>
            </a:r>
          </a:p>
        </p:txBody>
      </p:sp>
      <p:sp>
        <p:nvSpPr>
          <p:cNvPr id="15" name="Untertitel 14">
            <a:extLst>
              <a:ext uri="{FF2B5EF4-FFF2-40B4-BE49-F238E27FC236}">
                <a16:creationId xmlns:a16="http://schemas.microsoft.com/office/drawing/2014/main" id="{5E371E36-018E-46F4-8F7A-947805223686}"/>
              </a:ext>
            </a:extLst>
          </p:cNvPr>
          <p:cNvSpPr>
            <a:spLocks noGrp="1"/>
          </p:cNvSpPr>
          <p:nvPr>
            <p:ph type="subTitle" idx="1"/>
          </p:nvPr>
        </p:nvSpPr>
        <p:spPr>
          <a:xfrm>
            <a:off x="1042285" y="5177005"/>
            <a:ext cx="4332988" cy="553998"/>
          </a:xfrm>
        </p:spPr>
        <p:txBody>
          <a:bodyPr/>
          <a:lstStyle/>
          <a:p>
            <a:r>
              <a:rPr lang="de-DE" dirty="0"/>
              <a:t>Wenn ihr Fragen habt oder euch was aufgefallen ist, dann schreibt mir!</a:t>
            </a:r>
          </a:p>
        </p:txBody>
      </p:sp>
      <p:sp>
        <p:nvSpPr>
          <p:cNvPr id="16" name="Textplatzhalter 15">
            <a:extLst>
              <a:ext uri="{FF2B5EF4-FFF2-40B4-BE49-F238E27FC236}">
                <a16:creationId xmlns:a16="http://schemas.microsoft.com/office/drawing/2014/main" id="{66B2BD28-D863-4EC9-B1AF-3E90355348BA}"/>
              </a:ext>
            </a:extLst>
          </p:cNvPr>
          <p:cNvSpPr>
            <a:spLocks noGrp="1"/>
          </p:cNvSpPr>
          <p:nvPr>
            <p:ph type="body" sz="quarter" idx="13"/>
          </p:nvPr>
        </p:nvSpPr>
        <p:spPr>
          <a:xfrm>
            <a:off x="1042286" y="5903220"/>
            <a:ext cx="4332988" cy="184666"/>
          </a:xfrm>
        </p:spPr>
        <p:txBody>
          <a:bodyPr/>
          <a:lstStyle/>
          <a:p>
            <a:r>
              <a:rPr lang="de-DE" dirty="0"/>
              <a:t>Philip Wenzel| p.wenzel@fondsfinanz.de</a:t>
            </a:r>
          </a:p>
        </p:txBody>
      </p:sp>
    </p:spTree>
    <p:extLst>
      <p:ext uri="{BB962C8B-B14F-4D97-AF65-F5344CB8AC3E}">
        <p14:creationId xmlns:p14="http://schemas.microsoft.com/office/powerpoint/2010/main" val="71491252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a:extLst>
              <a:ext uri="{FF2B5EF4-FFF2-40B4-BE49-F238E27FC236}">
                <a16:creationId xmlns:a16="http://schemas.microsoft.com/office/drawing/2014/main" id="{87A20A7B-A25F-31C1-C9CB-8F4DB4F8099A}"/>
              </a:ext>
            </a:extLst>
          </p:cNvPr>
          <p:cNvSpPr>
            <a:spLocks noGrp="1"/>
          </p:cNvSpPr>
          <p:nvPr>
            <p:ph type="body" sz="quarter" idx="17"/>
          </p:nvPr>
        </p:nvSpPr>
        <p:spPr/>
        <p:txBody>
          <a:bodyPr/>
          <a:lstStyle/>
          <a:p>
            <a:r>
              <a:rPr lang="de-DE" dirty="0"/>
              <a:t>Was sind die gesetzlichen Ansprüche bei Freiberuflern?</a:t>
            </a:r>
          </a:p>
        </p:txBody>
      </p:sp>
      <p:sp>
        <p:nvSpPr>
          <p:cNvPr id="5" name="Titel 4">
            <a:extLst>
              <a:ext uri="{FF2B5EF4-FFF2-40B4-BE49-F238E27FC236}">
                <a16:creationId xmlns:a16="http://schemas.microsoft.com/office/drawing/2014/main" id="{CAED657D-4351-4F1E-89EF-C7696BDB429B}"/>
              </a:ext>
            </a:extLst>
          </p:cNvPr>
          <p:cNvSpPr>
            <a:spLocks noGrp="1"/>
          </p:cNvSpPr>
          <p:nvPr>
            <p:ph type="title" idx="4294967295"/>
          </p:nvPr>
        </p:nvSpPr>
        <p:spPr>
          <a:xfrm>
            <a:off x="0" y="1695450"/>
            <a:ext cx="5935663" cy="3467100"/>
          </a:xfrm>
        </p:spPr>
        <p:txBody>
          <a:bodyPr vert="horz" lIns="91440" tIns="45720" rIns="91440" bIns="45720" rtlCol="0" anchor="b">
            <a:normAutofit/>
          </a:bodyPr>
          <a:lstStyle/>
          <a:p>
            <a:pPr algn="l"/>
            <a:br>
              <a:rPr lang="de-DE" b="1" dirty="0">
                <a:solidFill>
                  <a:srgbClr val="FFFFFF"/>
                </a:solidFill>
              </a:rPr>
            </a:br>
            <a:br>
              <a:rPr lang="de-DE" b="1" dirty="0">
                <a:solidFill>
                  <a:srgbClr val="FFFFFF"/>
                </a:solidFill>
              </a:rPr>
            </a:br>
            <a:endParaRPr lang="en-US" b="1" kern="1200" dirty="0">
              <a:solidFill>
                <a:srgbClr val="FFFFFF"/>
              </a:solidFill>
            </a:endParaRPr>
          </a:p>
        </p:txBody>
      </p:sp>
      <p:pic>
        <p:nvPicPr>
          <p:cNvPr id="16" name="Bildplatzhalter 15" descr="Ein Bild, das Person, Menschliches Gesicht, Lächeln, Kleidung enthält.&#10;&#10;Automatisch generierte Beschreibung">
            <a:extLst>
              <a:ext uri="{FF2B5EF4-FFF2-40B4-BE49-F238E27FC236}">
                <a16:creationId xmlns:a16="http://schemas.microsoft.com/office/drawing/2014/main" id="{1747E18E-5A3C-5700-A699-5291C148F55A}"/>
              </a:ext>
            </a:extLst>
          </p:cNvPr>
          <p:cNvPicPr>
            <a:picLocks noGrp="1" noChangeAspect="1"/>
          </p:cNvPicPr>
          <p:nvPr>
            <p:ph type="pic" sz="quarter" idx="14"/>
          </p:nvPr>
        </p:nvPicPr>
        <p:blipFill>
          <a:blip r:embed="rId2"/>
          <a:srcRect t="9067" b="9067"/>
          <a:stretch>
            <a:fillRect/>
          </a:stretch>
        </p:blipFill>
        <p:spPr/>
      </p:pic>
    </p:spTree>
    <p:extLst>
      <p:ext uri="{BB962C8B-B14F-4D97-AF65-F5344CB8AC3E}">
        <p14:creationId xmlns:p14="http://schemas.microsoft.com/office/powerpoint/2010/main" val="26697682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500"/>
                                  </p:stCondLst>
                                  <p:iterate>
                                    <p:tmPct val="10000"/>
                                  </p:iterate>
                                  <p:childTnLst>
                                    <p:set>
                                      <p:cBhvr>
                                        <p:cTn id="6" dur="1" fill="hold">
                                          <p:stCondLst>
                                            <p:cond delay="0"/>
                                          </p:stCondLst>
                                        </p:cTn>
                                        <p:tgtEl>
                                          <p:spTgt spid="5"/>
                                        </p:tgtEl>
                                        <p:attrNameLst>
                                          <p:attrName>style.visibility</p:attrName>
                                        </p:attrNameLst>
                                      </p:cBhvr>
                                      <p:to>
                                        <p:strVal val="visible"/>
                                      </p:to>
                                    </p:set>
                                    <p:animEffect transition="in" filter="fade">
                                      <p:cBhvr>
                                        <p:cTn id="7" dur="7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EAC8EA1E-6D47-4E01-8E0A-B5440CE42C0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5" name="Objekt 4" hidden="1">
                        <a:extLst>
                          <a:ext uri="{FF2B5EF4-FFF2-40B4-BE49-F238E27FC236}">
                            <a16:creationId xmlns:a16="http://schemas.microsoft.com/office/drawing/2014/main" id="{EAC8EA1E-6D47-4E01-8E0A-B5440CE42C0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4249AB66-CBBB-43EF-9ADD-D056233717BF}"/>
              </a:ext>
            </a:extLst>
          </p:cNvPr>
          <p:cNvSpPr>
            <a:spLocks noGrp="1"/>
          </p:cNvSpPr>
          <p:nvPr>
            <p:ph type="title"/>
          </p:nvPr>
        </p:nvSpPr>
        <p:spPr>
          <a:xfrm>
            <a:off x="479425" y="739916"/>
            <a:ext cx="11233150" cy="443198"/>
          </a:xfrm>
        </p:spPr>
        <p:txBody>
          <a:bodyPr vert="horz"/>
          <a:lstStyle/>
          <a:p>
            <a:r>
              <a:rPr lang="de-DE" dirty="0"/>
              <a:t>Wie ist die Versorgung bei Berufsunfähigkeit?</a:t>
            </a:r>
          </a:p>
        </p:txBody>
      </p:sp>
      <p:sp>
        <p:nvSpPr>
          <p:cNvPr id="3" name="Textplatzhalter 10">
            <a:extLst>
              <a:ext uri="{FF2B5EF4-FFF2-40B4-BE49-F238E27FC236}">
                <a16:creationId xmlns:a16="http://schemas.microsoft.com/office/drawing/2014/main" id="{DF4EFF8A-432F-EE7B-9094-9DB92A4FC2EF}"/>
              </a:ext>
            </a:extLst>
          </p:cNvPr>
          <p:cNvSpPr txBox="1">
            <a:spLocks/>
          </p:cNvSpPr>
          <p:nvPr/>
        </p:nvSpPr>
        <p:spPr>
          <a:xfrm>
            <a:off x="479425" y="1271518"/>
            <a:ext cx="8496000" cy="982800"/>
          </a:xfrm>
          <a:prstGeom prst="rect">
            <a:avLst/>
          </a:prstGeom>
        </p:spPr>
        <p:txBody>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2000" b="1" kern="1200">
                <a:solidFill>
                  <a:schemeClr val="tx2"/>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2"/>
                </a:solidFill>
                <a:latin typeface="+mn-lt"/>
                <a:ea typeface="+mn-ea"/>
                <a:cs typeface="+mn-cs"/>
              </a:defRPr>
            </a:lvl2pPr>
            <a:lvl3pPr marL="180000" indent="-180000" algn="l" defTabSz="914400" rtl="0" eaLnBrk="1" latinLnBrk="0" hangingPunct="1">
              <a:lnSpc>
                <a:spcPct val="100000"/>
              </a:lnSpc>
              <a:spcBef>
                <a:spcPts val="0"/>
              </a:spcBef>
              <a:spcAft>
                <a:spcPts val="600"/>
              </a:spcAft>
              <a:buClr>
                <a:schemeClr val="tx1"/>
              </a:buClr>
              <a:buFont typeface="Wingdings" panose="05000000000000000000" pitchFamily="2" charset="2"/>
              <a:buChar char="§"/>
              <a:defRPr sz="1600" kern="1200">
                <a:solidFill>
                  <a:schemeClr val="tx2"/>
                </a:solidFill>
                <a:latin typeface="+mn-lt"/>
                <a:ea typeface="+mn-ea"/>
                <a:cs typeface="+mn-cs"/>
              </a:defRPr>
            </a:lvl3pPr>
            <a:lvl4pPr marL="360000" indent="-180000" algn="l" defTabSz="914400" rtl="0" eaLnBrk="1" latinLnBrk="0" hangingPunct="1">
              <a:lnSpc>
                <a:spcPct val="100000"/>
              </a:lnSpc>
              <a:spcBef>
                <a:spcPts val="0"/>
              </a:spcBef>
              <a:spcAft>
                <a:spcPts val="600"/>
              </a:spcAft>
              <a:buClr>
                <a:schemeClr val="tx1"/>
              </a:buClr>
              <a:buFont typeface="Wingdings" panose="05000000000000000000" pitchFamily="2" charset="2"/>
              <a:buChar char="§"/>
              <a:defRPr sz="1600" kern="1200">
                <a:solidFill>
                  <a:schemeClr val="tx2"/>
                </a:solidFill>
                <a:latin typeface="+mn-lt"/>
                <a:ea typeface="+mn-ea"/>
                <a:cs typeface="+mn-cs"/>
              </a:defRPr>
            </a:lvl4pPr>
            <a:lvl5pPr marL="540000" indent="-180000" algn="l" defTabSz="914400" rtl="0" eaLnBrk="1" latinLnBrk="0" hangingPunct="1">
              <a:lnSpc>
                <a:spcPct val="100000"/>
              </a:lnSpc>
              <a:spcBef>
                <a:spcPts val="0"/>
              </a:spcBef>
              <a:spcAft>
                <a:spcPts val="600"/>
              </a:spcAft>
              <a:buClr>
                <a:schemeClr val="tx1"/>
              </a:buClr>
              <a:buFont typeface="Wingdings" panose="05000000000000000000" pitchFamily="2" charset="2"/>
              <a:buChar char="§"/>
              <a:defRPr sz="1600" kern="1200">
                <a:solidFill>
                  <a:schemeClr val="tx2"/>
                </a:solidFill>
                <a:latin typeface="+mn-lt"/>
                <a:ea typeface="+mn-ea"/>
                <a:cs typeface="+mn-cs"/>
              </a:defRPr>
            </a:lvl5pPr>
            <a:lvl6pPr marL="720000" indent="-180000" algn="l" defTabSz="914400" rtl="0" eaLnBrk="1" latinLnBrk="0" hangingPunct="1">
              <a:lnSpc>
                <a:spcPct val="100000"/>
              </a:lnSpc>
              <a:spcBef>
                <a:spcPts val="0"/>
              </a:spcBef>
              <a:spcAft>
                <a:spcPts val="600"/>
              </a:spcAft>
              <a:buClr>
                <a:schemeClr val="accent3"/>
              </a:buClr>
              <a:buFont typeface="Wingdings" panose="05000000000000000000" pitchFamily="2" charset="2"/>
              <a:buChar char="§"/>
              <a:defRPr sz="1600" kern="1200">
                <a:solidFill>
                  <a:schemeClr val="tx2"/>
                </a:solidFill>
                <a:latin typeface="+mn-lt"/>
                <a:ea typeface="+mn-ea"/>
                <a:cs typeface="+mn-cs"/>
              </a:defRPr>
            </a:lvl6pPr>
            <a:lvl7pPr marL="900000" indent="-180000" algn="l" defTabSz="914400" rtl="0" eaLnBrk="1" latinLnBrk="0" hangingPunct="1">
              <a:lnSpc>
                <a:spcPct val="100000"/>
              </a:lnSpc>
              <a:spcBef>
                <a:spcPts val="0"/>
              </a:spcBef>
              <a:spcAft>
                <a:spcPts val="600"/>
              </a:spcAft>
              <a:buClr>
                <a:schemeClr val="accent3"/>
              </a:buClr>
              <a:buFont typeface="Wingdings" panose="05000000000000000000" pitchFamily="2" charset="2"/>
              <a:buChar char="§"/>
              <a:defRPr sz="1600" kern="1200">
                <a:solidFill>
                  <a:schemeClr val="tx2"/>
                </a:solidFill>
                <a:latin typeface="+mn-lt"/>
                <a:ea typeface="+mn-ea"/>
                <a:cs typeface="+mn-cs"/>
              </a:defRPr>
            </a:lvl7pPr>
            <a:lvl8pPr marL="1080000" indent="-180000" algn="l" defTabSz="914400" rtl="0" eaLnBrk="1" latinLnBrk="0" hangingPunct="1">
              <a:lnSpc>
                <a:spcPct val="100000"/>
              </a:lnSpc>
              <a:spcBef>
                <a:spcPts val="0"/>
              </a:spcBef>
              <a:spcAft>
                <a:spcPts val="600"/>
              </a:spcAft>
              <a:buClr>
                <a:schemeClr val="accent3"/>
              </a:buClr>
              <a:buFont typeface="Wingdings" panose="05000000000000000000" pitchFamily="2" charset="2"/>
              <a:buChar char="§"/>
              <a:defRPr sz="1600" kern="1200">
                <a:solidFill>
                  <a:schemeClr val="tx2"/>
                </a:solidFill>
                <a:latin typeface="+mn-lt"/>
                <a:ea typeface="+mn-ea"/>
                <a:cs typeface="+mn-cs"/>
              </a:defRPr>
            </a:lvl8pPr>
            <a:lvl9pPr marL="1260000" indent="-180000" algn="l" defTabSz="914400" rtl="0" eaLnBrk="1" latinLnBrk="0" hangingPunct="1">
              <a:lnSpc>
                <a:spcPct val="100000"/>
              </a:lnSpc>
              <a:spcBef>
                <a:spcPts val="0"/>
              </a:spcBef>
              <a:spcAft>
                <a:spcPts val="600"/>
              </a:spcAft>
              <a:buClr>
                <a:schemeClr val="accent3"/>
              </a:buClr>
              <a:buFont typeface="Wingdings" panose="05000000000000000000" pitchFamily="2" charset="2"/>
              <a:buChar char="§"/>
              <a:defRPr sz="1600" kern="1200">
                <a:solidFill>
                  <a:schemeClr val="tx2"/>
                </a:solidFill>
                <a:latin typeface="+mn-lt"/>
                <a:ea typeface="+mn-ea"/>
                <a:cs typeface="+mn-cs"/>
              </a:defRPr>
            </a:lvl9pPr>
          </a:lstStyle>
          <a:p>
            <a:r>
              <a:rPr lang="de-DE" sz="1600" b="0" dirty="0"/>
              <a:t>Kammerberufe: Ärzte, Apotheker, Architekten, Notare, Anwälte, Steuerberater, Tierärzte, Wirtschaftsprüfer, Zahnärzte und Psychologische Psychotherapeuten. </a:t>
            </a:r>
          </a:p>
          <a:p>
            <a:r>
              <a:rPr lang="de-DE" sz="1600" b="0" dirty="0"/>
              <a:t>Außerdem sind Schauspieler, Musiker und Schornsteinfeger in Versorgungswerken.</a:t>
            </a:r>
          </a:p>
          <a:p>
            <a:r>
              <a:rPr lang="de-DE" sz="1600" b="0" dirty="0"/>
              <a:t>Darüber hinaus gibt es noch ein Versorgungswerk des Bayerischen Landtags.</a:t>
            </a:r>
          </a:p>
          <a:p>
            <a:r>
              <a:rPr lang="de-DE" sz="1600" b="0" dirty="0"/>
              <a:t>In Bayern sind Steuerberater und Rechtsanwälte, eines für Ärzte, Zahn- und Tierärzte und Ingenieure und Psychotherapeuten jeweils in ein Versorgungswerk gefasst.</a:t>
            </a:r>
          </a:p>
          <a:p>
            <a:r>
              <a:rPr lang="de-DE" sz="1600" b="0" dirty="0"/>
              <a:t>Ein Versorgungswerk ist nicht umlagefinanziert, sondern nach dem offenen Deckungsplanverfahren. Es ist grundsätzlich kapitalgedeckt, berechnet aber zukünftige Beiträge mit ein. Es kommt also viel mehr darauf an, wie viel ich selbst einzahle. Die demografische Entwicklung ist aber auch hier ein Problem.</a:t>
            </a:r>
          </a:p>
          <a:p>
            <a:r>
              <a:rPr lang="de-DE" sz="1600" b="0" dirty="0"/>
              <a:t>Während die Deutsche Rentenversicherung nicht in Aktien investieren darf, legen die Versorgungswerke im Schnitt 21% in Aktien an. Die höhere Rendite ist ein großer Vorteil. </a:t>
            </a:r>
          </a:p>
          <a:p>
            <a:r>
              <a:rPr lang="de-DE" sz="1600" b="0" dirty="0"/>
              <a:t>Der große Vorteil des Versorgungswerks ist die Bündelung wohlhabender Einzahler. Allerdings ist die Lebenserwartung etwa vier Jahre höher als der Durchschnitt, was sich wieder negativ auf das Kollektiv auswirkt.  </a:t>
            </a:r>
          </a:p>
          <a:p>
            <a:r>
              <a:rPr lang="de-DE" sz="1600" b="0" dirty="0"/>
              <a:t>Die durchschnittliche Rente beträgt 2.000 Euro. Das ist gut doppelt so hoch, wie in der DRV. </a:t>
            </a:r>
          </a:p>
          <a:p>
            <a:endParaRPr lang="de-DE" sz="1600" dirty="0"/>
          </a:p>
        </p:txBody>
      </p:sp>
      <p:sp>
        <p:nvSpPr>
          <p:cNvPr id="6" name="Textplatzhalter 5">
            <a:extLst>
              <a:ext uri="{FF2B5EF4-FFF2-40B4-BE49-F238E27FC236}">
                <a16:creationId xmlns:a16="http://schemas.microsoft.com/office/drawing/2014/main" id="{D92FBF1F-0791-ECBB-5B14-DA9F7BCC4081}"/>
              </a:ext>
            </a:extLst>
          </p:cNvPr>
          <p:cNvSpPr>
            <a:spLocks noGrp="1"/>
          </p:cNvSpPr>
          <p:nvPr>
            <p:ph type="body" sz="quarter" idx="12"/>
          </p:nvPr>
        </p:nvSpPr>
        <p:spPr>
          <a:xfrm>
            <a:off x="479425" y="371703"/>
            <a:ext cx="11233150" cy="215444"/>
          </a:xfrm>
        </p:spPr>
        <p:txBody>
          <a:bodyPr/>
          <a:lstStyle/>
          <a:p>
            <a:r>
              <a:rPr lang="de-DE" dirty="0"/>
              <a:t>Was bekommt ein Freiberufler bei Berufsunfähigkeit?</a:t>
            </a:r>
          </a:p>
        </p:txBody>
      </p:sp>
    </p:spTree>
    <p:extLst>
      <p:ext uri="{BB962C8B-B14F-4D97-AF65-F5344CB8AC3E}">
        <p14:creationId xmlns:p14="http://schemas.microsoft.com/office/powerpoint/2010/main" val="335741353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3">
                                            <p:txEl>
                                              <p:pRg st="1" end="1"/>
                                            </p:txEl>
                                          </p:spTgt>
                                        </p:tgtEl>
                                        <p:attrNameLst>
                                          <p:attrName>style.visibility</p:attrName>
                                        </p:attrNameLst>
                                      </p:cBhvr>
                                      <p:to>
                                        <p:strVal val="visible"/>
                                      </p:to>
                                    </p:set>
                                    <p:animEffect transition="in" filter="fade">
                                      <p:cBhvr>
                                        <p:cTn id="12" dur="500"/>
                                        <p:tgtEl>
                                          <p:spTgt spid="3">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3">
                                            <p:txEl>
                                              <p:pRg st="2" end="2"/>
                                            </p:txEl>
                                          </p:spTgt>
                                        </p:tgtEl>
                                        <p:attrNameLst>
                                          <p:attrName>style.visibility</p:attrName>
                                        </p:attrNameLst>
                                      </p:cBhvr>
                                      <p:to>
                                        <p:strVal val="visible"/>
                                      </p:to>
                                    </p:set>
                                    <p:animEffect transition="in" filter="fade">
                                      <p:cBhvr>
                                        <p:cTn id="17" dur="500"/>
                                        <p:tgtEl>
                                          <p:spTgt spid="3">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3">
                                            <p:txEl>
                                              <p:pRg st="3" end="3"/>
                                            </p:txEl>
                                          </p:spTgt>
                                        </p:tgtEl>
                                        <p:attrNameLst>
                                          <p:attrName>style.visibility</p:attrName>
                                        </p:attrNameLst>
                                      </p:cBhvr>
                                      <p:to>
                                        <p:strVal val="visible"/>
                                      </p:to>
                                    </p:set>
                                    <p:animEffect transition="in" filter="fade">
                                      <p:cBhvr>
                                        <p:cTn id="22" dur="500"/>
                                        <p:tgtEl>
                                          <p:spTgt spid="3">
                                            <p:txEl>
                                              <p:pRg st="3" end="3"/>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3">
                                            <p:txEl>
                                              <p:pRg st="4" end="4"/>
                                            </p:txEl>
                                          </p:spTgt>
                                        </p:tgtEl>
                                        <p:attrNameLst>
                                          <p:attrName>style.visibility</p:attrName>
                                        </p:attrNameLst>
                                      </p:cBhvr>
                                      <p:to>
                                        <p:strVal val="visible"/>
                                      </p:to>
                                    </p:set>
                                    <p:animEffect transition="in" filter="fade">
                                      <p:cBhvr>
                                        <p:cTn id="27" dur="500"/>
                                        <p:tgtEl>
                                          <p:spTgt spid="3">
                                            <p:txEl>
                                              <p:pRg st="4" end="4"/>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grpId="0" nodeType="clickEffect">
                                  <p:stCondLst>
                                    <p:cond delay="0"/>
                                  </p:stCondLst>
                                  <p:childTnLst>
                                    <p:set>
                                      <p:cBhvr>
                                        <p:cTn id="31" dur="1" fill="hold">
                                          <p:stCondLst>
                                            <p:cond delay="0"/>
                                          </p:stCondLst>
                                        </p:cTn>
                                        <p:tgtEl>
                                          <p:spTgt spid="3">
                                            <p:txEl>
                                              <p:pRg st="5" end="5"/>
                                            </p:txEl>
                                          </p:spTgt>
                                        </p:tgtEl>
                                        <p:attrNameLst>
                                          <p:attrName>style.visibility</p:attrName>
                                        </p:attrNameLst>
                                      </p:cBhvr>
                                      <p:to>
                                        <p:strVal val="visible"/>
                                      </p:to>
                                    </p:set>
                                    <p:animEffect transition="in" filter="fade">
                                      <p:cBhvr>
                                        <p:cTn id="32" dur="500"/>
                                        <p:tgtEl>
                                          <p:spTgt spid="3">
                                            <p:txEl>
                                              <p:pRg st="5" end="5"/>
                                            </p:txEl>
                                          </p:spTgt>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grpId="0" nodeType="clickEffect">
                                  <p:stCondLst>
                                    <p:cond delay="0"/>
                                  </p:stCondLst>
                                  <p:childTnLst>
                                    <p:set>
                                      <p:cBhvr>
                                        <p:cTn id="36" dur="1" fill="hold">
                                          <p:stCondLst>
                                            <p:cond delay="0"/>
                                          </p:stCondLst>
                                        </p:cTn>
                                        <p:tgtEl>
                                          <p:spTgt spid="3">
                                            <p:txEl>
                                              <p:pRg st="6" end="6"/>
                                            </p:txEl>
                                          </p:spTgt>
                                        </p:tgtEl>
                                        <p:attrNameLst>
                                          <p:attrName>style.visibility</p:attrName>
                                        </p:attrNameLst>
                                      </p:cBhvr>
                                      <p:to>
                                        <p:strVal val="visible"/>
                                      </p:to>
                                    </p:set>
                                    <p:animEffect transition="in" filter="fade">
                                      <p:cBhvr>
                                        <p:cTn id="37" dur="500"/>
                                        <p:tgtEl>
                                          <p:spTgt spid="3">
                                            <p:txEl>
                                              <p:pRg st="6" end="6"/>
                                            </p:txEl>
                                          </p:spTgt>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ntr" presetSubtype="0" fill="hold" grpId="0" nodeType="clickEffect">
                                  <p:stCondLst>
                                    <p:cond delay="0"/>
                                  </p:stCondLst>
                                  <p:childTnLst>
                                    <p:set>
                                      <p:cBhvr>
                                        <p:cTn id="41" dur="1" fill="hold">
                                          <p:stCondLst>
                                            <p:cond delay="0"/>
                                          </p:stCondLst>
                                        </p:cTn>
                                        <p:tgtEl>
                                          <p:spTgt spid="3">
                                            <p:txEl>
                                              <p:pRg st="7" end="7"/>
                                            </p:txEl>
                                          </p:spTgt>
                                        </p:tgtEl>
                                        <p:attrNameLst>
                                          <p:attrName>style.visibility</p:attrName>
                                        </p:attrNameLst>
                                      </p:cBhvr>
                                      <p:to>
                                        <p:strVal val="visible"/>
                                      </p:to>
                                    </p:set>
                                    <p:animEffect transition="in" filter="fade">
                                      <p:cBhvr>
                                        <p:cTn id="42" dur="500"/>
                                        <p:tgtEl>
                                          <p:spTgt spid="3">
                                            <p:txEl>
                                              <p:pRg st="7" end="7"/>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EAC8EA1E-6D47-4E01-8E0A-B5440CE42C0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5" name="Objekt 4" hidden="1">
                        <a:extLst>
                          <a:ext uri="{FF2B5EF4-FFF2-40B4-BE49-F238E27FC236}">
                            <a16:creationId xmlns:a16="http://schemas.microsoft.com/office/drawing/2014/main" id="{EAC8EA1E-6D47-4E01-8E0A-B5440CE42C0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4249AB66-CBBB-43EF-9ADD-D056233717BF}"/>
              </a:ext>
            </a:extLst>
          </p:cNvPr>
          <p:cNvSpPr>
            <a:spLocks noGrp="1"/>
          </p:cNvSpPr>
          <p:nvPr>
            <p:ph type="title"/>
          </p:nvPr>
        </p:nvSpPr>
        <p:spPr>
          <a:xfrm>
            <a:off x="479425" y="739916"/>
            <a:ext cx="11233150" cy="443198"/>
          </a:xfrm>
        </p:spPr>
        <p:txBody>
          <a:bodyPr vert="horz"/>
          <a:lstStyle/>
          <a:p>
            <a:r>
              <a:rPr lang="de-DE" dirty="0"/>
              <a:t>Was sind die Besonderheiten bei Kammerberufen?</a:t>
            </a:r>
          </a:p>
        </p:txBody>
      </p:sp>
      <p:sp>
        <p:nvSpPr>
          <p:cNvPr id="3" name="Textplatzhalter 10">
            <a:extLst>
              <a:ext uri="{FF2B5EF4-FFF2-40B4-BE49-F238E27FC236}">
                <a16:creationId xmlns:a16="http://schemas.microsoft.com/office/drawing/2014/main" id="{DF4EFF8A-432F-EE7B-9094-9DB92A4FC2EF}"/>
              </a:ext>
            </a:extLst>
          </p:cNvPr>
          <p:cNvSpPr txBox="1">
            <a:spLocks/>
          </p:cNvSpPr>
          <p:nvPr/>
        </p:nvSpPr>
        <p:spPr>
          <a:xfrm>
            <a:off x="479425" y="1271518"/>
            <a:ext cx="8496000" cy="982800"/>
          </a:xfrm>
          <a:prstGeom prst="rect">
            <a:avLst/>
          </a:prstGeom>
        </p:spPr>
        <p:txBody>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2000" b="1" kern="1200">
                <a:solidFill>
                  <a:schemeClr val="tx2"/>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2"/>
                </a:solidFill>
                <a:latin typeface="+mn-lt"/>
                <a:ea typeface="+mn-ea"/>
                <a:cs typeface="+mn-cs"/>
              </a:defRPr>
            </a:lvl2pPr>
            <a:lvl3pPr marL="180000" indent="-180000" algn="l" defTabSz="914400" rtl="0" eaLnBrk="1" latinLnBrk="0" hangingPunct="1">
              <a:lnSpc>
                <a:spcPct val="100000"/>
              </a:lnSpc>
              <a:spcBef>
                <a:spcPts val="0"/>
              </a:spcBef>
              <a:spcAft>
                <a:spcPts val="600"/>
              </a:spcAft>
              <a:buClr>
                <a:schemeClr val="tx1"/>
              </a:buClr>
              <a:buFont typeface="Wingdings" panose="05000000000000000000" pitchFamily="2" charset="2"/>
              <a:buChar char="§"/>
              <a:defRPr sz="1600" kern="1200">
                <a:solidFill>
                  <a:schemeClr val="tx2"/>
                </a:solidFill>
                <a:latin typeface="+mn-lt"/>
                <a:ea typeface="+mn-ea"/>
                <a:cs typeface="+mn-cs"/>
              </a:defRPr>
            </a:lvl3pPr>
            <a:lvl4pPr marL="360000" indent="-180000" algn="l" defTabSz="914400" rtl="0" eaLnBrk="1" latinLnBrk="0" hangingPunct="1">
              <a:lnSpc>
                <a:spcPct val="100000"/>
              </a:lnSpc>
              <a:spcBef>
                <a:spcPts val="0"/>
              </a:spcBef>
              <a:spcAft>
                <a:spcPts val="600"/>
              </a:spcAft>
              <a:buClr>
                <a:schemeClr val="tx1"/>
              </a:buClr>
              <a:buFont typeface="Wingdings" panose="05000000000000000000" pitchFamily="2" charset="2"/>
              <a:buChar char="§"/>
              <a:defRPr sz="1600" kern="1200">
                <a:solidFill>
                  <a:schemeClr val="tx2"/>
                </a:solidFill>
                <a:latin typeface="+mn-lt"/>
                <a:ea typeface="+mn-ea"/>
                <a:cs typeface="+mn-cs"/>
              </a:defRPr>
            </a:lvl4pPr>
            <a:lvl5pPr marL="540000" indent="-180000" algn="l" defTabSz="914400" rtl="0" eaLnBrk="1" latinLnBrk="0" hangingPunct="1">
              <a:lnSpc>
                <a:spcPct val="100000"/>
              </a:lnSpc>
              <a:spcBef>
                <a:spcPts val="0"/>
              </a:spcBef>
              <a:spcAft>
                <a:spcPts val="600"/>
              </a:spcAft>
              <a:buClr>
                <a:schemeClr val="tx1"/>
              </a:buClr>
              <a:buFont typeface="Wingdings" panose="05000000000000000000" pitchFamily="2" charset="2"/>
              <a:buChar char="§"/>
              <a:defRPr sz="1600" kern="1200">
                <a:solidFill>
                  <a:schemeClr val="tx2"/>
                </a:solidFill>
                <a:latin typeface="+mn-lt"/>
                <a:ea typeface="+mn-ea"/>
                <a:cs typeface="+mn-cs"/>
              </a:defRPr>
            </a:lvl5pPr>
            <a:lvl6pPr marL="720000" indent="-180000" algn="l" defTabSz="914400" rtl="0" eaLnBrk="1" latinLnBrk="0" hangingPunct="1">
              <a:lnSpc>
                <a:spcPct val="100000"/>
              </a:lnSpc>
              <a:spcBef>
                <a:spcPts val="0"/>
              </a:spcBef>
              <a:spcAft>
                <a:spcPts val="600"/>
              </a:spcAft>
              <a:buClr>
                <a:schemeClr val="accent3"/>
              </a:buClr>
              <a:buFont typeface="Wingdings" panose="05000000000000000000" pitchFamily="2" charset="2"/>
              <a:buChar char="§"/>
              <a:defRPr sz="1600" kern="1200">
                <a:solidFill>
                  <a:schemeClr val="tx2"/>
                </a:solidFill>
                <a:latin typeface="+mn-lt"/>
                <a:ea typeface="+mn-ea"/>
                <a:cs typeface="+mn-cs"/>
              </a:defRPr>
            </a:lvl6pPr>
            <a:lvl7pPr marL="900000" indent="-180000" algn="l" defTabSz="914400" rtl="0" eaLnBrk="1" latinLnBrk="0" hangingPunct="1">
              <a:lnSpc>
                <a:spcPct val="100000"/>
              </a:lnSpc>
              <a:spcBef>
                <a:spcPts val="0"/>
              </a:spcBef>
              <a:spcAft>
                <a:spcPts val="600"/>
              </a:spcAft>
              <a:buClr>
                <a:schemeClr val="accent3"/>
              </a:buClr>
              <a:buFont typeface="Wingdings" panose="05000000000000000000" pitchFamily="2" charset="2"/>
              <a:buChar char="§"/>
              <a:defRPr sz="1600" kern="1200">
                <a:solidFill>
                  <a:schemeClr val="tx2"/>
                </a:solidFill>
                <a:latin typeface="+mn-lt"/>
                <a:ea typeface="+mn-ea"/>
                <a:cs typeface="+mn-cs"/>
              </a:defRPr>
            </a:lvl7pPr>
            <a:lvl8pPr marL="1080000" indent="-180000" algn="l" defTabSz="914400" rtl="0" eaLnBrk="1" latinLnBrk="0" hangingPunct="1">
              <a:lnSpc>
                <a:spcPct val="100000"/>
              </a:lnSpc>
              <a:spcBef>
                <a:spcPts val="0"/>
              </a:spcBef>
              <a:spcAft>
                <a:spcPts val="600"/>
              </a:spcAft>
              <a:buClr>
                <a:schemeClr val="accent3"/>
              </a:buClr>
              <a:buFont typeface="Wingdings" panose="05000000000000000000" pitchFamily="2" charset="2"/>
              <a:buChar char="§"/>
              <a:defRPr sz="1600" kern="1200">
                <a:solidFill>
                  <a:schemeClr val="tx2"/>
                </a:solidFill>
                <a:latin typeface="+mn-lt"/>
                <a:ea typeface="+mn-ea"/>
                <a:cs typeface="+mn-cs"/>
              </a:defRPr>
            </a:lvl8pPr>
            <a:lvl9pPr marL="1260000" indent="-180000" algn="l" defTabSz="914400" rtl="0" eaLnBrk="1" latinLnBrk="0" hangingPunct="1">
              <a:lnSpc>
                <a:spcPct val="100000"/>
              </a:lnSpc>
              <a:spcBef>
                <a:spcPts val="0"/>
              </a:spcBef>
              <a:spcAft>
                <a:spcPts val="600"/>
              </a:spcAft>
              <a:buClr>
                <a:schemeClr val="accent3"/>
              </a:buClr>
              <a:buFont typeface="Wingdings" panose="05000000000000000000" pitchFamily="2" charset="2"/>
              <a:buChar char="§"/>
              <a:defRPr sz="1600" kern="1200">
                <a:solidFill>
                  <a:schemeClr val="tx2"/>
                </a:solidFill>
                <a:latin typeface="+mn-lt"/>
                <a:ea typeface="+mn-ea"/>
                <a:cs typeface="+mn-cs"/>
              </a:defRPr>
            </a:lvl9pPr>
          </a:lstStyle>
          <a:p>
            <a:r>
              <a:rPr lang="de-DE" sz="1600" dirty="0"/>
              <a:t>Der Anspruch bei Ärzten</a:t>
            </a:r>
          </a:p>
          <a:p>
            <a:r>
              <a:rPr lang="de-DE" sz="1600" b="0" dirty="0"/>
              <a:t>Der Nachweis erfolgt in 2 Schritten: Ich muss BU sein UND ich muss meine gesamte berufliche Tätigkeit aufgeben. </a:t>
            </a:r>
          </a:p>
          <a:p>
            <a:endParaRPr lang="de-DE" sz="1600" dirty="0"/>
          </a:p>
        </p:txBody>
      </p:sp>
      <p:sp>
        <p:nvSpPr>
          <p:cNvPr id="6" name="Textplatzhalter 5">
            <a:extLst>
              <a:ext uri="{FF2B5EF4-FFF2-40B4-BE49-F238E27FC236}">
                <a16:creationId xmlns:a16="http://schemas.microsoft.com/office/drawing/2014/main" id="{D92FBF1F-0791-ECBB-5B14-DA9F7BCC4081}"/>
              </a:ext>
            </a:extLst>
          </p:cNvPr>
          <p:cNvSpPr>
            <a:spLocks noGrp="1"/>
          </p:cNvSpPr>
          <p:nvPr>
            <p:ph type="body" sz="quarter" idx="12"/>
          </p:nvPr>
        </p:nvSpPr>
        <p:spPr>
          <a:xfrm>
            <a:off x="479425" y="371703"/>
            <a:ext cx="11233150" cy="215444"/>
          </a:xfrm>
        </p:spPr>
        <p:txBody>
          <a:bodyPr/>
          <a:lstStyle/>
          <a:p>
            <a:r>
              <a:rPr lang="de-DE" dirty="0"/>
              <a:t>Was bekommt ein Freiberufler bei Berufsunfähigkeit?</a:t>
            </a:r>
          </a:p>
        </p:txBody>
      </p:sp>
      <p:pic>
        <p:nvPicPr>
          <p:cNvPr id="4" name="Picture 2">
            <a:extLst>
              <a:ext uri="{FF2B5EF4-FFF2-40B4-BE49-F238E27FC236}">
                <a16:creationId xmlns:a16="http://schemas.microsoft.com/office/drawing/2014/main" id="{C0415642-933F-6FB7-84A6-9ACF1B4F1E70}"/>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3690937" y="3254848"/>
            <a:ext cx="4895850" cy="26098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8" name="Picture 3">
            <a:extLst>
              <a:ext uri="{FF2B5EF4-FFF2-40B4-BE49-F238E27FC236}">
                <a16:creationId xmlns:a16="http://schemas.microsoft.com/office/drawing/2014/main" id="{B5144E96-B4E6-39B1-950A-D8DC548398B5}"/>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3690937" y="5560147"/>
            <a:ext cx="4810125" cy="7239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9" name="Textplatzhalter 10">
            <a:extLst>
              <a:ext uri="{FF2B5EF4-FFF2-40B4-BE49-F238E27FC236}">
                <a16:creationId xmlns:a16="http://schemas.microsoft.com/office/drawing/2014/main" id="{C523405C-4B81-DD95-47CF-7C1DF2390926}"/>
              </a:ext>
            </a:extLst>
          </p:cNvPr>
          <p:cNvSpPr txBox="1">
            <a:spLocks/>
          </p:cNvSpPr>
          <p:nvPr/>
        </p:nvSpPr>
        <p:spPr>
          <a:xfrm>
            <a:off x="479425" y="2266165"/>
            <a:ext cx="8496000" cy="982800"/>
          </a:xfrm>
          <a:prstGeom prst="rect">
            <a:avLst/>
          </a:prstGeom>
        </p:spPr>
        <p:txBody>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2000" b="1" kern="1200">
                <a:solidFill>
                  <a:schemeClr val="tx2"/>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2"/>
                </a:solidFill>
                <a:latin typeface="+mn-lt"/>
                <a:ea typeface="+mn-ea"/>
                <a:cs typeface="+mn-cs"/>
              </a:defRPr>
            </a:lvl2pPr>
            <a:lvl3pPr marL="180000" indent="-180000" algn="l" defTabSz="914400" rtl="0" eaLnBrk="1" latinLnBrk="0" hangingPunct="1">
              <a:lnSpc>
                <a:spcPct val="100000"/>
              </a:lnSpc>
              <a:spcBef>
                <a:spcPts val="0"/>
              </a:spcBef>
              <a:spcAft>
                <a:spcPts val="600"/>
              </a:spcAft>
              <a:buClr>
                <a:schemeClr val="tx1"/>
              </a:buClr>
              <a:buFont typeface="Wingdings" panose="05000000000000000000" pitchFamily="2" charset="2"/>
              <a:buChar char="§"/>
              <a:defRPr sz="1600" kern="1200">
                <a:solidFill>
                  <a:schemeClr val="tx2"/>
                </a:solidFill>
                <a:latin typeface="+mn-lt"/>
                <a:ea typeface="+mn-ea"/>
                <a:cs typeface="+mn-cs"/>
              </a:defRPr>
            </a:lvl3pPr>
            <a:lvl4pPr marL="360000" indent="-180000" algn="l" defTabSz="914400" rtl="0" eaLnBrk="1" latinLnBrk="0" hangingPunct="1">
              <a:lnSpc>
                <a:spcPct val="100000"/>
              </a:lnSpc>
              <a:spcBef>
                <a:spcPts val="0"/>
              </a:spcBef>
              <a:spcAft>
                <a:spcPts val="600"/>
              </a:spcAft>
              <a:buClr>
                <a:schemeClr val="tx1"/>
              </a:buClr>
              <a:buFont typeface="Wingdings" panose="05000000000000000000" pitchFamily="2" charset="2"/>
              <a:buChar char="§"/>
              <a:defRPr sz="1600" kern="1200">
                <a:solidFill>
                  <a:schemeClr val="tx2"/>
                </a:solidFill>
                <a:latin typeface="+mn-lt"/>
                <a:ea typeface="+mn-ea"/>
                <a:cs typeface="+mn-cs"/>
              </a:defRPr>
            </a:lvl4pPr>
            <a:lvl5pPr marL="540000" indent="-180000" algn="l" defTabSz="914400" rtl="0" eaLnBrk="1" latinLnBrk="0" hangingPunct="1">
              <a:lnSpc>
                <a:spcPct val="100000"/>
              </a:lnSpc>
              <a:spcBef>
                <a:spcPts val="0"/>
              </a:spcBef>
              <a:spcAft>
                <a:spcPts val="600"/>
              </a:spcAft>
              <a:buClr>
                <a:schemeClr val="tx1"/>
              </a:buClr>
              <a:buFont typeface="Wingdings" panose="05000000000000000000" pitchFamily="2" charset="2"/>
              <a:buChar char="§"/>
              <a:defRPr sz="1600" kern="1200">
                <a:solidFill>
                  <a:schemeClr val="tx2"/>
                </a:solidFill>
                <a:latin typeface="+mn-lt"/>
                <a:ea typeface="+mn-ea"/>
                <a:cs typeface="+mn-cs"/>
              </a:defRPr>
            </a:lvl5pPr>
            <a:lvl6pPr marL="720000" indent="-180000" algn="l" defTabSz="914400" rtl="0" eaLnBrk="1" latinLnBrk="0" hangingPunct="1">
              <a:lnSpc>
                <a:spcPct val="100000"/>
              </a:lnSpc>
              <a:spcBef>
                <a:spcPts val="0"/>
              </a:spcBef>
              <a:spcAft>
                <a:spcPts val="600"/>
              </a:spcAft>
              <a:buClr>
                <a:schemeClr val="accent3"/>
              </a:buClr>
              <a:buFont typeface="Wingdings" panose="05000000000000000000" pitchFamily="2" charset="2"/>
              <a:buChar char="§"/>
              <a:defRPr sz="1600" kern="1200">
                <a:solidFill>
                  <a:schemeClr val="tx2"/>
                </a:solidFill>
                <a:latin typeface="+mn-lt"/>
                <a:ea typeface="+mn-ea"/>
                <a:cs typeface="+mn-cs"/>
              </a:defRPr>
            </a:lvl6pPr>
            <a:lvl7pPr marL="900000" indent="-180000" algn="l" defTabSz="914400" rtl="0" eaLnBrk="1" latinLnBrk="0" hangingPunct="1">
              <a:lnSpc>
                <a:spcPct val="100000"/>
              </a:lnSpc>
              <a:spcBef>
                <a:spcPts val="0"/>
              </a:spcBef>
              <a:spcAft>
                <a:spcPts val="600"/>
              </a:spcAft>
              <a:buClr>
                <a:schemeClr val="accent3"/>
              </a:buClr>
              <a:buFont typeface="Wingdings" panose="05000000000000000000" pitchFamily="2" charset="2"/>
              <a:buChar char="§"/>
              <a:defRPr sz="1600" kern="1200">
                <a:solidFill>
                  <a:schemeClr val="tx2"/>
                </a:solidFill>
                <a:latin typeface="+mn-lt"/>
                <a:ea typeface="+mn-ea"/>
                <a:cs typeface="+mn-cs"/>
              </a:defRPr>
            </a:lvl7pPr>
            <a:lvl8pPr marL="1080000" indent="-180000" algn="l" defTabSz="914400" rtl="0" eaLnBrk="1" latinLnBrk="0" hangingPunct="1">
              <a:lnSpc>
                <a:spcPct val="100000"/>
              </a:lnSpc>
              <a:spcBef>
                <a:spcPts val="0"/>
              </a:spcBef>
              <a:spcAft>
                <a:spcPts val="600"/>
              </a:spcAft>
              <a:buClr>
                <a:schemeClr val="accent3"/>
              </a:buClr>
              <a:buFont typeface="Wingdings" panose="05000000000000000000" pitchFamily="2" charset="2"/>
              <a:buChar char="§"/>
              <a:defRPr sz="1600" kern="1200">
                <a:solidFill>
                  <a:schemeClr val="tx2"/>
                </a:solidFill>
                <a:latin typeface="+mn-lt"/>
                <a:ea typeface="+mn-ea"/>
                <a:cs typeface="+mn-cs"/>
              </a:defRPr>
            </a:lvl8pPr>
            <a:lvl9pPr marL="1260000" indent="-180000" algn="l" defTabSz="914400" rtl="0" eaLnBrk="1" latinLnBrk="0" hangingPunct="1">
              <a:lnSpc>
                <a:spcPct val="100000"/>
              </a:lnSpc>
              <a:spcBef>
                <a:spcPts val="0"/>
              </a:spcBef>
              <a:spcAft>
                <a:spcPts val="600"/>
              </a:spcAft>
              <a:buClr>
                <a:schemeClr val="accent3"/>
              </a:buClr>
              <a:buFont typeface="Wingdings" panose="05000000000000000000" pitchFamily="2" charset="2"/>
              <a:buChar char="§"/>
              <a:defRPr sz="1600" kern="1200">
                <a:solidFill>
                  <a:schemeClr val="tx2"/>
                </a:solidFill>
                <a:latin typeface="+mn-lt"/>
                <a:ea typeface="+mn-ea"/>
                <a:cs typeface="+mn-cs"/>
              </a:defRPr>
            </a:lvl9pPr>
          </a:lstStyle>
          <a:p>
            <a:r>
              <a:rPr lang="de-DE" sz="1600" b="0" dirty="0"/>
              <a:t>Bei niedergelassenen Ärzten kann die Praxis bis zu 4 Jahre durch einen Vertreter fortgeführt werden. </a:t>
            </a:r>
          </a:p>
          <a:p>
            <a:r>
              <a:rPr lang="de-DE" sz="1600" b="0" dirty="0"/>
              <a:t>Das wäre dann die vorübergehende Berufsunfähigkeit. </a:t>
            </a:r>
          </a:p>
          <a:p>
            <a:endParaRPr lang="de-DE" sz="1600" dirty="0"/>
          </a:p>
        </p:txBody>
      </p:sp>
    </p:spTree>
    <p:extLst>
      <p:ext uri="{BB962C8B-B14F-4D97-AF65-F5344CB8AC3E}">
        <p14:creationId xmlns:p14="http://schemas.microsoft.com/office/powerpoint/2010/main" val="63163686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3">
                                            <p:txEl>
                                              <p:pRg st="1" end="1"/>
                                            </p:txEl>
                                          </p:spTgt>
                                        </p:tgtEl>
                                        <p:attrNameLst>
                                          <p:attrName>style.visibility</p:attrName>
                                        </p:attrNameLst>
                                      </p:cBhvr>
                                      <p:to>
                                        <p:strVal val="visible"/>
                                      </p:to>
                                    </p:set>
                                    <p:animEffect transition="in" filter="fade">
                                      <p:cBhvr>
                                        <p:cTn id="12" dur="500"/>
                                        <p:tgtEl>
                                          <p:spTgt spid="3">
                                            <p:txEl>
                                              <p:pRg st="1" end="1"/>
                                            </p:txEl>
                                          </p:spTgt>
                                        </p:tgtEl>
                                      </p:cBhvr>
                                    </p:animEffect>
                                  </p:childTnLst>
                                </p:cTn>
                              </p:par>
                              <p:par>
                                <p:cTn id="13" presetID="10" presetClass="entr" presetSubtype="0" fill="hold" nodeType="withEffect">
                                  <p:stCondLst>
                                    <p:cond delay="0"/>
                                  </p:stCondLst>
                                  <p:childTnLst>
                                    <p:set>
                                      <p:cBhvr>
                                        <p:cTn id="14" dur="1" fill="hold">
                                          <p:stCondLst>
                                            <p:cond delay="0"/>
                                          </p:stCondLst>
                                        </p:cTn>
                                        <p:tgtEl>
                                          <p:spTgt spid="4"/>
                                        </p:tgtEl>
                                        <p:attrNameLst>
                                          <p:attrName>style.visibility</p:attrName>
                                        </p:attrNameLst>
                                      </p:cBhvr>
                                      <p:to>
                                        <p:strVal val="visible"/>
                                      </p:to>
                                    </p:set>
                                    <p:animEffect transition="in" filter="fade">
                                      <p:cBhvr>
                                        <p:cTn id="15" dur="500"/>
                                        <p:tgtEl>
                                          <p:spTgt spid="4"/>
                                        </p:tgtEl>
                                      </p:cBhvr>
                                    </p:animEffect>
                                  </p:childTnLst>
                                </p:cTn>
                              </p:par>
                              <p:par>
                                <p:cTn id="16" presetID="10" presetClass="entr" presetSubtype="0" fill="hold" nodeType="withEffect">
                                  <p:stCondLst>
                                    <p:cond delay="0"/>
                                  </p:stCondLst>
                                  <p:childTnLst>
                                    <p:set>
                                      <p:cBhvr>
                                        <p:cTn id="17" dur="1" fill="hold">
                                          <p:stCondLst>
                                            <p:cond delay="0"/>
                                          </p:stCondLst>
                                        </p:cTn>
                                        <p:tgtEl>
                                          <p:spTgt spid="8"/>
                                        </p:tgtEl>
                                        <p:attrNameLst>
                                          <p:attrName>style.visibility</p:attrName>
                                        </p:attrNameLst>
                                      </p:cBhvr>
                                      <p:to>
                                        <p:strVal val="visible"/>
                                      </p:to>
                                    </p:set>
                                    <p:animEffect transition="in" filter="fade">
                                      <p:cBhvr>
                                        <p:cTn id="18" dur="500"/>
                                        <p:tgtEl>
                                          <p:spTgt spid="8"/>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9">
                                            <p:txEl>
                                              <p:pRg st="0" end="0"/>
                                            </p:txEl>
                                          </p:spTgt>
                                        </p:tgtEl>
                                        <p:attrNameLst>
                                          <p:attrName>style.visibility</p:attrName>
                                        </p:attrNameLst>
                                      </p:cBhvr>
                                      <p:to>
                                        <p:strVal val="visible"/>
                                      </p:to>
                                    </p:set>
                                    <p:animEffect transition="in" filter="fade">
                                      <p:cBhvr>
                                        <p:cTn id="23" dur="500"/>
                                        <p:tgtEl>
                                          <p:spTgt spid="9">
                                            <p:txEl>
                                              <p:pRg st="0" end="0"/>
                                            </p:txEl>
                                          </p:spTgt>
                                        </p:tgtEl>
                                      </p:cBhvr>
                                    </p:animEffect>
                                  </p:childTnLst>
                                </p:cTn>
                              </p:par>
                            </p:childTnLst>
                          </p:cTn>
                        </p:par>
                      </p:childTnLst>
                    </p:cTn>
                  </p:par>
                  <p:par>
                    <p:cTn id="24" fill="hold">
                      <p:stCondLst>
                        <p:cond delay="indefinite"/>
                      </p:stCondLst>
                      <p:childTnLst>
                        <p:par>
                          <p:cTn id="25" fill="hold">
                            <p:stCondLst>
                              <p:cond delay="0"/>
                            </p:stCondLst>
                            <p:childTnLst>
                              <p:par>
                                <p:cTn id="26" presetID="10" presetClass="entr" presetSubtype="0" fill="hold" grpId="0" nodeType="clickEffect">
                                  <p:stCondLst>
                                    <p:cond delay="0"/>
                                  </p:stCondLst>
                                  <p:childTnLst>
                                    <p:set>
                                      <p:cBhvr>
                                        <p:cTn id="27" dur="1" fill="hold">
                                          <p:stCondLst>
                                            <p:cond delay="0"/>
                                          </p:stCondLst>
                                        </p:cTn>
                                        <p:tgtEl>
                                          <p:spTgt spid="9">
                                            <p:txEl>
                                              <p:pRg st="1" end="1"/>
                                            </p:txEl>
                                          </p:spTgt>
                                        </p:tgtEl>
                                        <p:attrNameLst>
                                          <p:attrName>style.visibility</p:attrName>
                                        </p:attrNameLst>
                                      </p:cBhvr>
                                      <p:to>
                                        <p:strVal val="visible"/>
                                      </p:to>
                                    </p:set>
                                    <p:animEffect transition="in" filter="fade">
                                      <p:cBhvr>
                                        <p:cTn id="28" dur="500"/>
                                        <p:tgtEl>
                                          <p:spTgt spid="9">
                                            <p:txEl>
                                              <p:pRg st="1" end="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P spid="9" grpId="0" build="p"/>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EAC8EA1E-6D47-4E01-8E0A-B5440CE42C0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5" name="Objekt 4" hidden="1">
                        <a:extLst>
                          <a:ext uri="{FF2B5EF4-FFF2-40B4-BE49-F238E27FC236}">
                            <a16:creationId xmlns:a16="http://schemas.microsoft.com/office/drawing/2014/main" id="{EAC8EA1E-6D47-4E01-8E0A-B5440CE42C0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4249AB66-CBBB-43EF-9ADD-D056233717BF}"/>
              </a:ext>
            </a:extLst>
          </p:cNvPr>
          <p:cNvSpPr>
            <a:spLocks noGrp="1"/>
          </p:cNvSpPr>
          <p:nvPr>
            <p:ph type="title"/>
          </p:nvPr>
        </p:nvSpPr>
        <p:spPr>
          <a:xfrm>
            <a:off x="479425" y="739916"/>
            <a:ext cx="11233150" cy="443198"/>
          </a:xfrm>
        </p:spPr>
        <p:txBody>
          <a:bodyPr vert="horz"/>
          <a:lstStyle/>
          <a:p>
            <a:r>
              <a:rPr lang="de-DE" dirty="0"/>
              <a:t>Bei Apothekern </a:t>
            </a:r>
            <a:r>
              <a:rPr lang="de-DE" dirty="0" err="1"/>
              <a:t>isses</a:t>
            </a:r>
            <a:r>
              <a:rPr lang="de-DE" dirty="0"/>
              <a:t> genauso</a:t>
            </a:r>
          </a:p>
        </p:txBody>
      </p:sp>
      <p:sp>
        <p:nvSpPr>
          <p:cNvPr id="6" name="Textplatzhalter 5">
            <a:extLst>
              <a:ext uri="{FF2B5EF4-FFF2-40B4-BE49-F238E27FC236}">
                <a16:creationId xmlns:a16="http://schemas.microsoft.com/office/drawing/2014/main" id="{D92FBF1F-0791-ECBB-5B14-DA9F7BCC4081}"/>
              </a:ext>
            </a:extLst>
          </p:cNvPr>
          <p:cNvSpPr>
            <a:spLocks noGrp="1"/>
          </p:cNvSpPr>
          <p:nvPr>
            <p:ph type="body" sz="quarter" idx="12"/>
          </p:nvPr>
        </p:nvSpPr>
        <p:spPr>
          <a:xfrm>
            <a:off x="479425" y="371703"/>
            <a:ext cx="11233150" cy="215444"/>
          </a:xfrm>
        </p:spPr>
        <p:txBody>
          <a:bodyPr/>
          <a:lstStyle/>
          <a:p>
            <a:r>
              <a:rPr lang="de-DE" dirty="0"/>
              <a:t>Was bekommt ein Freiberufler bei Berufsunfähigkeit?</a:t>
            </a:r>
          </a:p>
        </p:txBody>
      </p:sp>
      <p:pic>
        <p:nvPicPr>
          <p:cNvPr id="7" name="Picture 2">
            <a:extLst>
              <a:ext uri="{FF2B5EF4-FFF2-40B4-BE49-F238E27FC236}">
                <a16:creationId xmlns:a16="http://schemas.microsoft.com/office/drawing/2014/main" id="{CB7B1B10-DAEF-7006-0037-E060EB00A161}"/>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4135635" y="2090466"/>
            <a:ext cx="3952875" cy="14001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 name="Picture 3">
            <a:extLst>
              <a:ext uri="{FF2B5EF4-FFF2-40B4-BE49-F238E27FC236}">
                <a16:creationId xmlns:a16="http://schemas.microsoft.com/office/drawing/2014/main" id="{66E9A672-C0E2-C720-CC77-9443E2764487}"/>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4000037" y="3645025"/>
            <a:ext cx="4171950" cy="11334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402145059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10" presetClass="entr" presetSubtype="0" fill="hold" nodeType="withEffect">
                                  <p:stCondLst>
                                    <p:cond delay="0"/>
                                  </p:stCondLst>
                                  <p:childTnLst>
                                    <p:set>
                                      <p:cBhvr>
                                        <p:cTn id="9" dur="1" fill="hold">
                                          <p:stCondLst>
                                            <p:cond delay="0"/>
                                          </p:stCondLst>
                                        </p:cTn>
                                        <p:tgtEl>
                                          <p:spTgt spid="10"/>
                                        </p:tgtEl>
                                        <p:attrNameLst>
                                          <p:attrName>style.visibility</p:attrName>
                                        </p:attrNameLst>
                                      </p:cBhvr>
                                      <p:to>
                                        <p:strVal val="visible"/>
                                      </p:to>
                                    </p:set>
                                    <p:animEffect transition="in" filter="fade">
                                      <p:cBhvr>
                                        <p:cTn id="10"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EAC8EA1E-6D47-4E01-8E0A-B5440CE42C0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5" name="Objekt 4" hidden="1">
                        <a:extLst>
                          <a:ext uri="{FF2B5EF4-FFF2-40B4-BE49-F238E27FC236}">
                            <a16:creationId xmlns:a16="http://schemas.microsoft.com/office/drawing/2014/main" id="{EAC8EA1E-6D47-4E01-8E0A-B5440CE42C0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4249AB66-CBBB-43EF-9ADD-D056233717BF}"/>
              </a:ext>
            </a:extLst>
          </p:cNvPr>
          <p:cNvSpPr>
            <a:spLocks noGrp="1"/>
          </p:cNvSpPr>
          <p:nvPr>
            <p:ph type="title"/>
          </p:nvPr>
        </p:nvSpPr>
        <p:spPr>
          <a:xfrm>
            <a:off x="479425" y="739916"/>
            <a:ext cx="11233150" cy="443198"/>
          </a:xfrm>
        </p:spPr>
        <p:txBody>
          <a:bodyPr vert="horz"/>
          <a:lstStyle/>
          <a:p>
            <a:r>
              <a:rPr lang="de-DE" dirty="0"/>
              <a:t>Bei Anwälten auch…</a:t>
            </a:r>
          </a:p>
        </p:txBody>
      </p:sp>
      <p:sp>
        <p:nvSpPr>
          <p:cNvPr id="6" name="Textplatzhalter 5">
            <a:extLst>
              <a:ext uri="{FF2B5EF4-FFF2-40B4-BE49-F238E27FC236}">
                <a16:creationId xmlns:a16="http://schemas.microsoft.com/office/drawing/2014/main" id="{D92FBF1F-0791-ECBB-5B14-DA9F7BCC4081}"/>
              </a:ext>
            </a:extLst>
          </p:cNvPr>
          <p:cNvSpPr>
            <a:spLocks noGrp="1"/>
          </p:cNvSpPr>
          <p:nvPr>
            <p:ph type="body" sz="quarter" idx="12"/>
          </p:nvPr>
        </p:nvSpPr>
        <p:spPr>
          <a:xfrm>
            <a:off x="479425" y="371703"/>
            <a:ext cx="11233150" cy="215444"/>
          </a:xfrm>
        </p:spPr>
        <p:txBody>
          <a:bodyPr/>
          <a:lstStyle/>
          <a:p>
            <a:r>
              <a:rPr lang="de-DE" dirty="0"/>
              <a:t>Was bekommt ein Freiberufler bei Berufsunfähigkeit?</a:t>
            </a:r>
          </a:p>
        </p:txBody>
      </p:sp>
      <p:pic>
        <p:nvPicPr>
          <p:cNvPr id="3" name="Picture 2">
            <a:extLst>
              <a:ext uri="{FF2B5EF4-FFF2-40B4-BE49-F238E27FC236}">
                <a16:creationId xmlns:a16="http://schemas.microsoft.com/office/drawing/2014/main" id="{C0F16E09-C908-6A3D-196E-D814407733CF}"/>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3851602" y="1939464"/>
            <a:ext cx="4419600" cy="12858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 name="Picture 3">
            <a:extLst>
              <a:ext uri="{FF2B5EF4-FFF2-40B4-BE49-F238E27FC236}">
                <a16:creationId xmlns:a16="http://schemas.microsoft.com/office/drawing/2014/main" id="{02370597-DA35-60DD-66AD-541B4B55322A}"/>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3862387" y="3225339"/>
            <a:ext cx="4467225" cy="17621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22817955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par>
                                <p:cTn id="8" presetID="10" presetClass="entr" presetSubtype="0" fill="hold"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fade">
                                      <p:cBhvr>
                                        <p:cTn id="10"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EAC8EA1E-6D47-4E01-8E0A-B5440CE42C0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5" name="Objekt 4" hidden="1">
                        <a:extLst>
                          <a:ext uri="{FF2B5EF4-FFF2-40B4-BE49-F238E27FC236}">
                            <a16:creationId xmlns:a16="http://schemas.microsoft.com/office/drawing/2014/main" id="{EAC8EA1E-6D47-4E01-8E0A-B5440CE42C0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4249AB66-CBBB-43EF-9ADD-D056233717BF}"/>
              </a:ext>
            </a:extLst>
          </p:cNvPr>
          <p:cNvSpPr>
            <a:spLocks noGrp="1"/>
          </p:cNvSpPr>
          <p:nvPr>
            <p:ph type="title"/>
          </p:nvPr>
        </p:nvSpPr>
        <p:spPr>
          <a:xfrm>
            <a:off x="479425" y="739916"/>
            <a:ext cx="11233150" cy="443198"/>
          </a:xfrm>
        </p:spPr>
        <p:txBody>
          <a:bodyPr vert="horz"/>
          <a:lstStyle/>
          <a:p>
            <a:r>
              <a:rPr lang="de-DE" dirty="0"/>
              <a:t>Und Architekten ebenso…</a:t>
            </a:r>
          </a:p>
        </p:txBody>
      </p:sp>
      <p:sp>
        <p:nvSpPr>
          <p:cNvPr id="6" name="Textplatzhalter 5">
            <a:extLst>
              <a:ext uri="{FF2B5EF4-FFF2-40B4-BE49-F238E27FC236}">
                <a16:creationId xmlns:a16="http://schemas.microsoft.com/office/drawing/2014/main" id="{D92FBF1F-0791-ECBB-5B14-DA9F7BCC4081}"/>
              </a:ext>
            </a:extLst>
          </p:cNvPr>
          <p:cNvSpPr>
            <a:spLocks noGrp="1"/>
          </p:cNvSpPr>
          <p:nvPr>
            <p:ph type="body" sz="quarter" idx="12"/>
          </p:nvPr>
        </p:nvSpPr>
        <p:spPr>
          <a:xfrm>
            <a:off x="479425" y="371703"/>
            <a:ext cx="11233150" cy="215444"/>
          </a:xfrm>
        </p:spPr>
        <p:txBody>
          <a:bodyPr/>
          <a:lstStyle/>
          <a:p>
            <a:r>
              <a:rPr lang="de-DE" dirty="0"/>
              <a:t>Was bekommt ein Freiberufler bei Berufsunfähigkeit?</a:t>
            </a:r>
          </a:p>
        </p:txBody>
      </p:sp>
      <p:pic>
        <p:nvPicPr>
          <p:cNvPr id="7" name="Picture 2">
            <a:extLst>
              <a:ext uri="{FF2B5EF4-FFF2-40B4-BE49-F238E27FC236}">
                <a16:creationId xmlns:a16="http://schemas.microsoft.com/office/drawing/2014/main" id="{CF7FF2C4-3B14-1D21-3BA0-91ABFEB680DF}"/>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3851604" y="2090466"/>
            <a:ext cx="4419600" cy="12858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8" name="Picture 2">
            <a:extLst>
              <a:ext uri="{FF2B5EF4-FFF2-40B4-BE49-F238E27FC236}">
                <a16:creationId xmlns:a16="http://schemas.microsoft.com/office/drawing/2014/main" id="{CDD56426-C776-3E7A-E0E7-0476D4B7785B}"/>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3855145" y="3429000"/>
            <a:ext cx="4420800" cy="146111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31916351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10" presetClass="entr" presetSubtype="0" fill="hold" nodeType="withEffect">
                                  <p:stCondLst>
                                    <p:cond delay="0"/>
                                  </p:stCondLst>
                                  <p:childTnLst>
                                    <p:set>
                                      <p:cBhvr>
                                        <p:cTn id="9" dur="1" fill="hold">
                                          <p:stCondLst>
                                            <p:cond delay="0"/>
                                          </p:stCondLst>
                                        </p:cTn>
                                        <p:tgtEl>
                                          <p:spTgt spid="8"/>
                                        </p:tgtEl>
                                        <p:attrNameLst>
                                          <p:attrName>style.visibility</p:attrName>
                                        </p:attrNameLst>
                                      </p:cBhvr>
                                      <p:to>
                                        <p:strVal val="visible"/>
                                      </p:to>
                                    </p:set>
                                    <p:animEffect transition="in" filter="fade">
                                      <p:cBhvr>
                                        <p:cTn id="10"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EAC8EA1E-6D47-4E01-8E0A-B5440CE42C0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5" name="Objekt 4" hidden="1">
                        <a:extLst>
                          <a:ext uri="{FF2B5EF4-FFF2-40B4-BE49-F238E27FC236}">
                            <a16:creationId xmlns:a16="http://schemas.microsoft.com/office/drawing/2014/main" id="{EAC8EA1E-6D47-4E01-8E0A-B5440CE42C0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4249AB66-CBBB-43EF-9ADD-D056233717BF}"/>
              </a:ext>
            </a:extLst>
          </p:cNvPr>
          <p:cNvSpPr>
            <a:spLocks noGrp="1"/>
          </p:cNvSpPr>
          <p:nvPr>
            <p:ph type="title"/>
          </p:nvPr>
        </p:nvSpPr>
        <p:spPr>
          <a:xfrm>
            <a:off x="479425" y="739916"/>
            <a:ext cx="11233150" cy="443198"/>
          </a:xfrm>
        </p:spPr>
        <p:txBody>
          <a:bodyPr vert="horz"/>
          <a:lstStyle/>
          <a:p>
            <a:r>
              <a:rPr lang="de-DE" dirty="0"/>
              <a:t>Die Höhe kann auch ein Problem sein…</a:t>
            </a:r>
          </a:p>
        </p:txBody>
      </p:sp>
      <p:sp>
        <p:nvSpPr>
          <p:cNvPr id="3" name="Textplatzhalter 10">
            <a:extLst>
              <a:ext uri="{FF2B5EF4-FFF2-40B4-BE49-F238E27FC236}">
                <a16:creationId xmlns:a16="http://schemas.microsoft.com/office/drawing/2014/main" id="{DF4EFF8A-432F-EE7B-9094-9DB92A4FC2EF}"/>
              </a:ext>
            </a:extLst>
          </p:cNvPr>
          <p:cNvSpPr txBox="1">
            <a:spLocks/>
          </p:cNvSpPr>
          <p:nvPr/>
        </p:nvSpPr>
        <p:spPr>
          <a:xfrm>
            <a:off x="479424" y="1271518"/>
            <a:ext cx="6869331" cy="982800"/>
          </a:xfrm>
          <a:prstGeom prst="rect">
            <a:avLst/>
          </a:prstGeom>
        </p:spPr>
        <p:txBody>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2000" b="1" kern="1200">
                <a:solidFill>
                  <a:schemeClr val="tx2"/>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2"/>
                </a:solidFill>
                <a:latin typeface="+mn-lt"/>
                <a:ea typeface="+mn-ea"/>
                <a:cs typeface="+mn-cs"/>
              </a:defRPr>
            </a:lvl2pPr>
            <a:lvl3pPr marL="180000" indent="-180000" algn="l" defTabSz="914400" rtl="0" eaLnBrk="1" latinLnBrk="0" hangingPunct="1">
              <a:lnSpc>
                <a:spcPct val="100000"/>
              </a:lnSpc>
              <a:spcBef>
                <a:spcPts val="0"/>
              </a:spcBef>
              <a:spcAft>
                <a:spcPts val="600"/>
              </a:spcAft>
              <a:buClr>
                <a:schemeClr val="tx1"/>
              </a:buClr>
              <a:buFont typeface="Wingdings" panose="05000000000000000000" pitchFamily="2" charset="2"/>
              <a:buChar char="§"/>
              <a:defRPr sz="1600" kern="1200">
                <a:solidFill>
                  <a:schemeClr val="tx2"/>
                </a:solidFill>
                <a:latin typeface="+mn-lt"/>
                <a:ea typeface="+mn-ea"/>
                <a:cs typeface="+mn-cs"/>
              </a:defRPr>
            </a:lvl3pPr>
            <a:lvl4pPr marL="360000" indent="-180000" algn="l" defTabSz="914400" rtl="0" eaLnBrk="1" latinLnBrk="0" hangingPunct="1">
              <a:lnSpc>
                <a:spcPct val="100000"/>
              </a:lnSpc>
              <a:spcBef>
                <a:spcPts val="0"/>
              </a:spcBef>
              <a:spcAft>
                <a:spcPts val="600"/>
              </a:spcAft>
              <a:buClr>
                <a:schemeClr val="tx1"/>
              </a:buClr>
              <a:buFont typeface="Wingdings" panose="05000000000000000000" pitchFamily="2" charset="2"/>
              <a:buChar char="§"/>
              <a:defRPr sz="1600" kern="1200">
                <a:solidFill>
                  <a:schemeClr val="tx2"/>
                </a:solidFill>
                <a:latin typeface="+mn-lt"/>
                <a:ea typeface="+mn-ea"/>
                <a:cs typeface="+mn-cs"/>
              </a:defRPr>
            </a:lvl4pPr>
            <a:lvl5pPr marL="540000" indent="-180000" algn="l" defTabSz="914400" rtl="0" eaLnBrk="1" latinLnBrk="0" hangingPunct="1">
              <a:lnSpc>
                <a:spcPct val="100000"/>
              </a:lnSpc>
              <a:spcBef>
                <a:spcPts val="0"/>
              </a:spcBef>
              <a:spcAft>
                <a:spcPts val="600"/>
              </a:spcAft>
              <a:buClr>
                <a:schemeClr val="tx1"/>
              </a:buClr>
              <a:buFont typeface="Wingdings" panose="05000000000000000000" pitchFamily="2" charset="2"/>
              <a:buChar char="§"/>
              <a:defRPr sz="1600" kern="1200">
                <a:solidFill>
                  <a:schemeClr val="tx2"/>
                </a:solidFill>
                <a:latin typeface="+mn-lt"/>
                <a:ea typeface="+mn-ea"/>
                <a:cs typeface="+mn-cs"/>
              </a:defRPr>
            </a:lvl5pPr>
            <a:lvl6pPr marL="720000" indent="-180000" algn="l" defTabSz="914400" rtl="0" eaLnBrk="1" latinLnBrk="0" hangingPunct="1">
              <a:lnSpc>
                <a:spcPct val="100000"/>
              </a:lnSpc>
              <a:spcBef>
                <a:spcPts val="0"/>
              </a:spcBef>
              <a:spcAft>
                <a:spcPts val="600"/>
              </a:spcAft>
              <a:buClr>
                <a:schemeClr val="accent3"/>
              </a:buClr>
              <a:buFont typeface="Wingdings" panose="05000000000000000000" pitchFamily="2" charset="2"/>
              <a:buChar char="§"/>
              <a:defRPr sz="1600" kern="1200">
                <a:solidFill>
                  <a:schemeClr val="tx2"/>
                </a:solidFill>
                <a:latin typeface="+mn-lt"/>
                <a:ea typeface="+mn-ea"/>
                <a:cs typeface="+mn-cs"/>
              </a:defRPr>
            </a:lvl6pPr>
            <a:lvl7pPr marL="900000" indent="-180000" algn="l" defTabSz="914400" rtl="0" eaLnBrk="1" latinLnBrk="0" hangingPunct="1">
              <a:lnSpc>
                <a:spcPct val="100000"/>
              </a:lnSpc>
              <a:spcBef>
                <a:spcPts val="0"/>
              </a:spcBef>
              <a:spcAft>
                <a:spcPts val="600"/>
              </a:spcAft>
              <a:buClr>
                <a:schemeClr val="accent3"/>
              </a:buClr>
              <a:buFont typeface="Wingdings" panose="05000000000000000000" pitchFamily="2" charset="2"/>
              <a:buChar char="§"/>
              <a:defRPr sz="1600" kern="1200">
                <a:solidFill>
                  <a:schemeClr val="tx2"/>
                </a:solidFill>
                <a:latin typeface="+mn-lt"/>
                <a:ea typeface="+mn-ea"/>
                <a:cs typeface="+mn-cs"/>
              </a:defRPr>
            </a:lvl7pPr>
            <a:lvl8pPr marL="1080000" indent="-180000" algn="l" defTabSz="914400" rtl="0" eaLnBrk="1" latinLnBrk="0" hangingPunct="1">
              <a:lnSpc>
                <a:spcPct val="100000"/>
              </a:lnSpc>
              <a:spcBef>
                <a:spcPts val="0"/>
              </a:spcBef>
              <a:spcAft>
                <a:spcPts val="600"/>
              </a:spcAft>
              <a:buClr>
                <a:schemeClr val="accent3"/>
              </a:buClr>
              <a:buFont typeface="Wingdings" panose="05000000000000000000" pitchFamily="2" charset="2"/>
              <a:buChar char="§"/>
              <a:defRPr sz="1600" kern="1200">
                <a:solidFill>
                  <a:schemeClr val="tx2"/>
                </a:solidFill>
                <a:latin typeface="+mn-lt"/>
                <a:ea typeface="+mn-ea"/>
                <a:cs typeface="+mn-cs"/>
              </a:defRPr>
            </a:lvl8pPr>
            <a:lvl9pPr marL="1260000" indent="-180000" algn="l" defTabSz="914400" rtl="0" eaLnBrk="1" latinLnBrk="0" hangingPunct="1">
              <a:lnSpc>
                <a:spcPct val="100000"/>
              </a:lnSpc>
              <a:spcBef>
                <a:spcPts val="0"/>
              </a:spcBef>
              <a:spcAft>
                <a:spcPts val="600"/>
              </a:spcAft>
              <a:buClr>
                <a:schemeClr val="accent3"/>
              </a:buClr>
              <a:buFont typeface="Wingdings" panose="05000000000000000000" pitchFamily="2" charset="2"/>
              <a:buChar char="§"/>
              <a:defRPr sz="1600" kern="1200">
                <a:solidFill>
                  <a:schemeClr val="tx2"/>
                </a:solidFill>
                <a:latin typeface="+mn-lt"/>
                <a:ea typeface="+mn-ea"/>
                <a:cs typeface="+mn-cs"/>
              </a:defRPr>
            </a:lvl9pPr>
          </a:lstStyle>
          <a:p>
            <a:r>
              <a:rPr lang="de-DE" sz="1600" b="0" dirty="0"/>
              <a:t>Der Anspruch variiert.</a:t>
            </a:r>
          </a:p>
          <a:p>
            <a:r>
              <a:rPr lang="de-DE" sz="1600" b="0" dirty="0"/>
              <a:t>Zu Beginn der Karriere kann der Freiberufler verminderte Beiträge zahlen, um mehr Geld für seine Kanzlei oder Praxis zu haben. Dadurch verringert sich aber anfangs der Anspruch enorm. </a:t>
            </a:r>
          </a:p>
          <a:p>
            <a:r>
              <a:rPr lang="de-DE" sz="1600" b="0" dirty="0"/>
              <a:t>Ich kann auch mehr zahlen, als ich muss. Dann ist der Anspruch entsprechend höher. </a:t>
            </a:r>
          </a:p>
          <a:p>
            <a:r>
              <a:rPr lang="de-DE" sz="1600" b="0" dirty="0"/>
              <a:t>Wer aber immer zahlt, was er muss, kann mit einer Versorgung in Höhe von etwa 60%-70% rechnen. </a:t>
            </a:r>
          </a:p>
          <a:p>
            <a:endParaRPr lang="de-DE" sz="1600" dirty="0"/>
          </a:p>
        </p:txBody>
      </p:sp>
      <p:sp>
        <p:nvSpPr>
          <p:cNvPr id="6" name="Textplatzhalter 5">
            <a:extLst>
              <a:ext uri="{FF2B5EF4-FFF2-40B4-BE49-F238E27FC236}">
                <a16:creationId xmlns:a16="http://schemas.microsoft.com/office/drawing/2014/main" id="{D92FBF1F-0791-ECBB-5B14-DA9F7BCC4081}"/>
              </a:ext>
            </a:extLst>
          </p:cNvPr>
          <p:cNvSpPr>
            <a:spLocks noGrp="1"/>
          </p:cNvSpPr>
          <p:nvPr>
            <p:ph type="body" sz="quarter" idx="12"/>
          </p:nvPr>
        </p:nvSpPr>
        <p:spPr>
          <a:xfrm>
            <a:off x="479425" y="371703"/>
            <a:ext cx="11233150" cy="215444"/>
          </a:xfrm>
        </p:spPr>
        <p:txBody>
          <a:bodyPr/>
          <a:lstStyle/>
          <a:p>
            <a:r>
              <a:rPr lang="de-DE" dirty="0"/>
              <a:t>Was bekommt ein Freiberufler bei Berufsunfähigkeit?</a:t>
            </a:r>
          </a:p>
        </p:txBody>
      </p:sp>
      <p:pic>
        <p:nvPicPr>
          <p:cNvPr id="7" name="Picture 2">
            <a:extLst>
              <a:ext uri="{FF2B5EF4-FFF2-40B4-BE49-F238E27FC236}">
                <a16:creationId xmlns:a16="http://schemas.microsoft.com/office/drawing/2014/main" id="{3FCF687B-E8C6-7D56-E211-AD4EFE19C3EA}"/>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7664775" y="739916"/>
            <a:ext cx="4047800" cy="562385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73216867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3">
                                            <p:txEl>
                                              <p:pRg st="1" end="1"/>
                                            </p:txEl>
                                          </p:spTgt>
                                        </p:tgtEl>
                                        <p:attrNameLst>
                                          <p:attrName>style.visibility</p:attrName>
                                        </p:attrNameLst>
                                      </p:cBhvr>
                                      <p:to>
                                        <p:strVal val="visible"/>
                                      </p:to>
                                    </p:set>
                                    <p:animEffect transition="in" filter="fade">
                                      <p:cBhvr>
                                        <p:cTn id="12" dur="500"/>
                                        <p:tgtEl>
                                          <p:spTgt spid="3">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3">
                                            <p:txEl>
                                              <p:pRg st="2" end="2"/>
                                            </p:txEl>
                                          </p:spTgt>
                                        </p:tgtEl>
                                        <p:attrNameLst>
                                          <p:attrName>style.visibility</p:attrName>
                                        </p:attrNameLst>
                                      </p:cBhvr>
                                      <p:to>
                                        <p:strVal val="visible"/>
                                      </p:to>
                                    </p:set>
                                    <p:animEffect transition="in" filter="fade">
                                      <p:cBhvr>
                                        <p:cTn id="17" dur="500"/>
                                        <p:tgtEl>
                                          <p:spTgt spid="3">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3">
                                            <p:txEl>
                                              <p:pRg st="3" end="3"/>
                                            </p:txEl>
                                          </p:spTgt>
                                        </p:tgtEl>
                                        <p:attrNameLst>
                                          <p:attrName>style.visibility</p:attrName>
                                        </p:attrNameLst>
                                      </p:cBhvr>
                                      <p:to>
                                        <p:strVal val="visible"/>
                                      </p:to>
                                    </p:set>
                                    <p:animEffect transition="in" filter="fade">
                                      <p:cBhvr>
                                        <p:cTn id="22" dur="500"/>
                                        <p:tgtEl>
                                          <p:spTgt spid="3">
                                            <p:txEl>
                                              <p:pRg st="3" end="3"/>
                                            </p:txEl>
                                          </p:spTgt>
                                        </p:tgtEl>
                                      </p:cBhvr>
                                    </p:animEffect>
                                  </p:childTnLst>
                                </p:cTn>
                              </p:par>
                              <p:par>
                                <p:cTn id="23" presetID="10" presetClass="entr" presetSubtype="0" fill="hold" nodeType="withEffect">
                                  <p:stCondLst>
                                    <p:cond delay="0"/>
                                  </p:stCondLst>
                                  <p:childTnLst>
                                    <p:set>
                                      <p:cBhvr>
                                        <p:cTn id="24" dur="1" fill="hold">
                                          <p:stCondLst>
                                            <p:cond delay="0"/>
                                          </p:stCondLst>
                                        </p:cTn>
                                        <p:tgtEl>
                                          <p:spTgt spid="7"/>
                                        </p:tgtEl>
                                        <p:attrNameLst>
                                          <p:attrName>style.visibility</p:attrName>
                                        </p:attrNameLst>
                                      </p:cBhvr>
                                      <p:to>
                                        <p:strVal val="visible"/>
                                      </p:to>
                                    </p:set>
                                    <p:animEffect transition="in" filter="fade">
                                      <p:cBhvr>
                                        <p:cTn id="25"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a:extLst>
              <a:ext uri="{FF2B5EF4-FFF2-40B4-BE49-F238E27FC236}">
                <a16:creationId xmlns:a16="http://schemas.microsoft.com/office/drawing/2014/main" id="{87A20A7B-A25F-31C1-C9CB-8F4DB4F8099A}"/>
              </a:ext>
            </a:extLst>
          </p:cNvPr>
          <p:cNvSpPr>
            <a:spLocks noGrp="1"/>
          </p:cNvSpPr>
          <p:nvPr>
            <p:ph type="body" sz="quarter" idx="17"/>
          </p:nvPr>
        </p:nvSpPr>
        <p:spPr/>
        <p:txBody>
          <a:bodyPr/>
          <a:lstStyle/>
          <a:p>
            <a:r>
              <a:rPr lang="de-DE" dirty="0"/>
              <a:t>Welche Klauseln sind wichtig?</a:t>
            </a:r>
          </a:p>
        </p:txBody>
      </p:sp>
      <p:sp>
        <p:nvSpPr>
          <p:cNvPr id="5" name="Titel 4">
            <a:extLst>
              <a:ext uri="{FF2B5EF4-FFF2-40B4-BE49-F238E27FC236}">
                <a16:creationId xmlns:a16="http://schemas.microsoft.com/office/drawing/2014/main" id="{CAED657D-4351-4F1E-89EF-C7696BDB429B}"/>
              </a:ext>
            </a:extLst>
          </p:cNvPr>
          <p:cNvSpPr>
            <a:spLocks noGrp="1"/>
          </p:cNvSpPr>
          <p:nvPr>
            <p:ph type="title" idx="4294967295"/>
          </p:nvPr>
        </p:nvSpPr>
        <p:spPr>
          <a:xfrm>
            <a:off x="0" y="1695450"/>
            <a:ext cx="5935663" cy="3467100"/>
          </a:xfrm>
        </p:spPr>
        <p:txBody>
          <a:bodyPr vert="horz" lIns="91440" tIns="45720" rIns="91440" bIns="45720" rtlCol="0" anchor="b">
            <a:normAutofit/>
          </a:bodyPr>
          <a:lstStyle/>
          <a:p>
            <a:pPr algn="l"/>
            <a:br>
              <a:rPr lang="de-DE" b="1" dirty="0">
                <a:solidFill>
                  <a:srgbClr val="FFFFFF"/>
                </a:solidFill>
              </a:rPr>
            </a:br>
            <a:br>
              <a:rPr lang="de-DE" b="1" dirty="0">
                <a:solidFill>
                  <a:srgbClr val="FFFFFF"/>
                </a:solidFill>
              </a:rPr>
            </a:br>
            <a:endParaRPr lang="en-US" b="1" kern="1200" dirty="0">
              <a:solidFill>
                <a:srgbClr val="FFFFFF"/>
              </a:solidFill>
            </a:endParaRPr>
          </a:p>
        </p:txBody>
      </p:sp>
      <p:pic>
        <p:nvPicPr>
          <p:cNvPr id="7" name="Bildplatzhalter 6" descr="Ein Bild, das Person, Im Haus, Kleidung, Menschliches Gesicht enthält.&#10;&#10;Automatisch generierte Beschreibung">
            <a:extLst>
              <a:ext uri="{FF2B5EF4-FFF2-40B4-BE49-F238E27FC236}">
                <a16:creationId xmlns:a16="http://schemas.microsoft.com/office/drawing/2014/main" id="{4874F473-B45E-B6E7-E018-E4D91E86821A}"/>
              </a:ext>
            </a:extLst>
          </p:cNvPr>
          <p:cNvPicPr>
            <a:picLocks noGrp="1" noChangeAspect="1"/>
          </p:cNvPicPr>
          <p:nvPr>
            <p:ph type="pic" sz="quarter" idx="14"/>
          </p:nvPr>
        </p:nvPicPr>
        <p:blipFill>
          <a:blip r:embed="rId2"/>
          <a:srcRect t="9087" b="9087"/>
          <a:stretch>
            <a:fillRect/>
          </a:stretch>
        </p:blipFill>
        <p:spPr/>
      </p:pic>
    </p:spTree>
    <p:extLst>
      <p:ext uri="{BB962C8B-B14F-4D97-AF65-F5344CB8AC3E}">
        <p14:creationId xmlns:p14="http://schemas.microsoft.com/office/powerpoint/2010/main" val="135722952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500"/>
                                  </p:stCondLst>
                                  <p:iterate>
                                    <p:tmPct val="10000"/>
                                  </p:iterate>
                                  <p:childTnLst>
                                    <p:set>
                                      <p:cBhvr>
                                        <p:cTn id="6" dur="1" fill="hold">
                                          <p:stCondLst>
                                            <p:cond delay="0"/>
                                          </p:stCondLst>
                                        </p:cTn>
                                        <p:tgtEl>
                                          <p:spTgt spid="5"/>
                                        </p:tgtEl>
                                        <p:attrNameLst>
                                          <p:attrName>style.visibility</p:attrName>
                                        </p:attrNameLst>
                                      </p:cBhvr>
                                      <p:to>
                                        <p:strVal val="visible"/>
                                      </p:to>
                                    </p:set>
                                    <p:animEffect transition="in" filter="fade">
                                      <p:cBhvr>
                                        <p:cTn id="7" dur="7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7037&quot;&gt;&lt;version val=&quot;32696&quot;/&gt;&lt;CPresentation id=&quot;1&quot;&gt;&lt;m_precDefaultNumber&gt;&lt;m_yearfmt&gt;&lt;begin val=&quot;0&quot;/&gt;&lt;end val=&quot;4&quot;/&gt;&lt;/m_yearfmt&gt;&lt;/m_precDefaultNumber&gt;&lt;m_precDefaultPercent&gt;&lt;m_yearfmt&gt;&lt;begin val=&quot;0&quot;/&gt;&lt;end val=&quot;4&quot;/&gt;&lt;/m_yearfmt&gt;&lt;/m_precDefaultPercent&gt;&lt;m_precDefaultDate&gt;&lt;m_yearfmt&gt;&lt;begin val=&quot;0&quot;/&gt;&lt;end val=&quot;4&quot;/&gt;&lt;/m_yearfmt&gt;&lt;/m_precDefaultDate&gt;&lt;m_precDefaultDay&gt;&lt;m_bNumberIsYear val=&quot;0&quot;/&gt;&lt;m_strFormatTime&gt;%#d&lt;/m_strFormatTime&gt;&lt;m_yearfmt&gt;&lt;begin val=&quot;0&quot;/&gt;&lt;end val=&quot;4&quot;/&gt;&lt;/m_yearfmt&gt;&lt;/m_precDefaultDay&gt;&lt;m_precDefaultWeek&gt;&lt;m_yearfmt&gt;&lt;begin val=&quot;0&quot;/&gt;&lt;end val=&quot;4&quot;/&gt;&lt;/m_yearfmt&gt;&lt;/m_precDefaultWeek&gt;&lt;m_precDefaultMonth&gt;&lt;m_yearfmt&gt;&lt;begin val=&quot;0&quot;/&gt;&lt;end val=&quot;4&quot;/&gt;&lt;/m_yearfmt&gt;&lt;/m_precDefaultMonth&gt;&lt;m_precDefaultQuarter&gt;&lt;m_bNumberIsYear val=&quot;0&quot;/&gt;&lt;m_strFormatTime&gt;Q%5&lt;/m_strFormatTime&gt;&lt;m_yearfmt&gt;&lt;begin val=&quot;0&quot;/&gt;&lt;end val=&quot;4&quot;/&gt;&lt;/m_yearfmt&gt;&lt;/m_precDefaultQuarter&gt;&lt;m_precDefaultYear&gt;&lt;m_bNumberIsYear val=&quot;0&quot;/&gt;&lt;m_strFormatTime&gt;%Y&lt;/m_strFormatTime&gt;&lt;m_yearfmt&gt;&lt;begin val=&quot;0&quot;/&gt;&lt;end val=&quot;0&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0&quot;/&gt;&lt;/m_mruColor&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Master Fonds Finanz">
  <a:themeElements>
    <a:clrScheme name="Fonds_Finanz_Colors">
      <a:dk1>
        <a:srgbClr val="2F4D72"/>
      </a:dk1>
      <a:lt1>
        <a:sysClr val="window" lastClr="FFFFFF"/>
      </a:lt1>
      <a:dk2>
        <a:srgbClr val="4B4B4B"/>
      </a:dk2>
      <a:lt2>
        <a:srgbClr val="E1E1E1"/>
      </a:lt2>
      <a:accent1>
        <a:srgbClr val="0ABBEF"/>
      </a:accent1>
      <a:accent2>
        <a:srgbClr val="0081A6"/>
      </a:accent2>
      <a:accent3>
        <a:srgbClr val="2F4D72"/>
      </a:accent3>
      <a:accent4>
        <a:srgbClr val="A6A6A6"/>
      </a:accent4>
      <a:accent5>
        <a:srgbClr val="7F7F7F"/>
      </a:accent5>
      <a:accent6>
        <a:srgbClr val="F8D501"/>
      </a:accent6>
      <a:hlink>
        <a:srgbClr val="0ABBEF"/>
      </a:hlink>
      <a:folHlink>
        <a:srgbClr val="0081A6"/>
      </a:folHlink>
    </a:clrScheme>
    <a:fontScheme name="Fond_Finanz_Colors">
      <a:majorFont>
        <a:latin typeface="PT Sans"/>
        <a:ea typeface=""/>
        <a:cs typeface=""/>
      </a:majorFont>
      <a:minorFont>
        <a:latin typeface="PT Sa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solidFill>
        <a:ln>
          <a:noFill/>
        </a:ln>
      </a:spPr>
      <a:bodyPr lIns="108000" tIns="72000" rIns="108000" bIns="72000" rtlCol="0" anchor="t"/>
      <a:lstStyle>
        <a:defPPr algn="l">
          <a:defRPr sz="1600" dirty="0" err="1" smtClean="0">
            <a:solidFill>
              <a:schemeClr val="tx2"/>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noFill/>
        <a:ln w="6350" cap="flat">
          <a:solidFill>
            <a:srgbClr val="2F4D72"/>
          </a:solidFill>
          <a:prstDash val="solid"/>
          <a:miter/>
        </a:ln>
      </a:spPr>
      <a:bodyPr/>
      <a:lstStyle/>
    </a:lnDef>
    <a:txDef>
      <a:spPr>
        <a:noFill/>
      </a:spPr>
      <a:bodyPr wrap="none" lIns="0" tIns="0" rIns="0" bIns="0" rtlCol="0">
        <a:spAutoFit/>
      </a:bodyPr>
      <a:lstStyle>
        <a:defPPr marL="180000" indent="-180000" algn="l">
          <a:spcAft>
            <a:spcPts val="600"/>
          </a:spcAft>
          <a:buClr>
            <a:schemeClr val="tx1"/>
          </a:buClr>
          <a:buFont typeface="Wingdings" panose="05000000000000000000" pitchFamily="2" charset="2"/>
          <a:buChar char="§"/>
          <a:defRPr sz="1600" dirty="0" err="1" smtClean="0">
            <a:solidFill>
              <a:schemeClr val="tx2"/>
            </a:solidFill>
          </a:defRPr>
        </a:defPPr>
      </a:lstStyle>
    </a:txDef>
  </a:objectDefaults>
  <a:extraClrSchemeLst/>
  <a:custClrLst>
    <a:custClr name="Nachhaltigkeit Hellgrün">
      <a:srgbClr val="87B24C"/>
    </a:custClr>
    <a:custClr name="Nachhaltigkeit Dunkelgrün">
      <a:srgbClr val="59774D"/>
    </a:custClr>
    <a:custClr name="Warnsignal">
      <a:srgbClr val="CE2828"/>
    </a:custClr>
    <a:custClr name=" ">
      <a:srgbClr val="FFFFFF"/>
    </a:custClr>
    <a:custClr name=" ">
      <a:srgbClr val="FFFFFF"/>
    </a:custClr>
    <a:custClr name=" ">
      <a:srgbClr val="FFFFFF"/>
    </a:custClr>
    <a:custClr name=" ">
      <a:srgbClr val="FFFFFF"/>
    </a:custClr>
    <a:custClr name=" ">
      <a:srgbClr val="FFFFFF"/>
    </a:custClr>
    <a:custClr name=" ">
      <a:srgbClr val="FFFFFF"/>
    </a:custClr>
    <a:custClr name=" ">
      <a:srgbClr val="FFFFFF"/>
    </a:custClr>
  </a:custClrLst>
  <a:extLst>
    <a:ext uri="{05A4C25C-085E-4340-85A3-A5531E510DB2}">
      <thm15:themeFamily xmlns:thm15="http://schemas.microsoft.com/office/thememl/2012/main" name="FF_PPT-Vorlagen_Jun02.pptx  -  Schreibgeschützt" id="{7C14F8C8-09AF-4700-A434-D8D6B2D5A298}" vid="{DFA0DBF9-92F9-4C01-BCA6-E306B7085992}"/>
    </a:ext>
  </a:extLst>
</a:theme>
</file>

<file path=ppt/theme/theme2.xml><?xml version="1.0" encoding="utf-8"?>
<a:theme xmlns:a="http://schemas.openxmlformats.org/drawingml/2006/main" name="Office">
  <a:themeElements>
    <a:clrScheme name="Farben fondsfinanz">
      <a:dk1>
        <a:srgbClr val="2F4D72"/>
      </a:dk1>
      <a:lt1>
        <a:sysClr val="window" lastClr="FFFFFF"/>
      </a:lt1>
      <a:dk2>
        <a:srgbClr val="4B4B4B"/>
      </a:dk2>
      <a:lt2>
        <a:srgbClr val="E1E1E1"/>
      </a:lt2>
      <a:accent1>
        <a:srgbClr val="0ABBEF"/>
      </a:accent1>
      <a:accent2>
        <a:srgbClr val="0081A6"/>
      </a:accent2>
      <a:accent3>
        <a:srgbClr val="2F4D72"/>
      </a:accent3>
      <a:accent4>
        <a:srgbClr val="A6A6A6"/>
      </a:accent4>
      <a:accent5>
        <a:srgbClr val="7F7F7F"/>
      </a:accent5>
      <a:accent6>
        <a:srgbClr val="F8D501"/>
      </a:accent6>
      <a:hlink>
        <a:srgbClr val="0ABBEF"/>
      </a:hlink>
      <a:folHlink>
        <a:srgbClr val="0081A6"/>
      </a:folHlink>
    </a:clrScheme>
    <a:fontScheme name="Schriften fondsfinanz">
      <a:majorFont>
        <a:latin typeface="PT Sans"/>
        <a:ea typeface=""/>
        <a:cs typeface=""/>
      </a:majorFont>
      <a:minorFont>
        <a:latin typeface="PT Sa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a:themeElements>
    <a:clrScheme name="Farben fondsfinanz">
      <a:dk1>
        <a:srgbClr val="2F4D72"/>
      </a:dk1>
      <a:lt1>
        <a:sysClr val="window" lastClr="FFFFFF"/>
      </a:lt1>
      <a:dk2>
        <a:srgbClr val="4B4B4B"/>
      </a:dk2>
      <a:lt2>
        <a:srgbClr val="E1E1E1"/>
      </a:lt2>
      <a:accent1>
        <a:srgbClr val="0ABBEF"/>
      </a:accent1>
      <a:accent2>
        <a:srgbClr val="0081A6"/>
      </a:accent2>
      <a:accent3>
        <a:srgbClr val="2F4D72"/>
      </a:accent3>
      <a:accent4>
        <a:srgbClr val="A6A6A6"/>
      </a:accent4>
      <a:accent5>
        <a:srgbClr val="7F7F7F"/>
      </a:accent5>
      <a:accent6>
        <a:srgbClr val="F8D501"/>
      </a:accent6>
      <a:hlink>
        <a:srgbClr val="0ABBEF"/>
      </a:hlink>
      <a:folHlink>
        <a:srgbClr val="0081A6"/>
      </a:folHlink>
    </a:clrScheme>
    <a:fontScheme name="Schriften fondsfinanz">
      <a:majorFont>
        <a:latin typeface="PT Sans"/>
        <a:ea typeface=""/>
        <a:cs typeface=""/>
      </a:majorFont>
      <a:minorFont>
        <a:latin typeface="PT Sa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FF_PPT-Vorlagen_Jun02</Template>
  <TotalTime>0</TotalTime>
  <Words>670</Words>
  <Application>Microsoft Office PowerPoint</Application>
  <PresentationFormat>Breitbild</PresentationFormat>
  <Paragraphs>78</Paragraphs>
  <Slides>18</Slides>
  <Notes>0</Notes>
  <HiddenSlides>0</HiddenSlides>
  <MMClips>0</MMClips>
  <ScaleCrop>false</ScaleCrop>
  <HeadingPairs>
    <vt:vector size="8" baseType="variant">
      <vt:variant>
        <vt:lpstr>Verwendete Schriftarten</vt:lpstr>
      </vt:variant>
      <vt:variant>
        <vt:i4>4</vt:i4>
      </vt:variant>
      <vt:variant>
        <vt:lpstr>Design</vt:lpstr>
      </vt:variant>
      <vt:variant>
        <vt:i4>1</vt:i4>
      </vt:variant>
      <vt:variant>
        <vt:lpstr>Eingebettete OLE-Server</vt:lpstr>
      </vt:variant>
      <vt:variant>
        <vt:i4>1</vt:i4>
      </vt:variant>
      <vt:variant>
        <vt:lpstr>Folientitel</vt:lpstr>
      </vt:variant>
      <vt:variant>
        <vt:i4>18</vt:i4>
      </vt:variant>
    </vt:vector>
  </HeadingPairs>
  <TitlesOfParts>
    <vt:vector size="24" baseType="lpstr">
      <vt:lpstr>PT Sans</vt:lpstr>
      <vt:lpstr>Wingdings</vt:lpstr>
      <vt:lpstr>Arial</vt:lpstr>
      <vt:lpstr>Yu Gothic Light</vt:lpstr>
      <vt:lpstr>Master Fonds Finanz</vt:lpstr>
      <vt:lpstr>think-cell Folie</vt:lpstr>
      <vt:lpstr>Bedarf von Freiberuflern</vt:lpstr>
      <vt:lpstr>  </vt:lpstr>
      <vt:lpstr>Wie ist die Versorgung bei Berufsunfähigkeit?</vt:lpstr>
      <vt:lpstr>Was sind die Besonderheiten bei Kammerberufen?</vt:lpstr>
      <vt:lpstr>Bei Apothekern isses genauso</vt:lpstr>
      <vt:lpstr>Bei Anwälten auch…</vt:lpstr>
      <vt:lpstr>Und Architekten ebenso…</vt:lpstr>
      <vt:lpstr>Die Höhe kann auch ein Problem sein…</vt:lpstr>
      <vt:lpstr>  </vt:lpstr>
      <vt:lpstr>Umorganisation ist nicht gleich Umorganisation…</vt:lpstr>
      <vt:lpstr>Umorganisation ist nicht gleich Umorganisation…</vt:lpstr>
      <vt:lpstr>Umorganisation ist nicht gleich Umorganisation…</vt:lpstr>
      <vt:lpstr>Und Unterstützung bei Umorganisation…</vt:lpstr>
      <vt:lpstr>  </vt:lpstr>
      <vt:lpstr>Der Freiberufler ist grundsätzlich abgesichert…</vt:lpstr>
      <vt:lpstr>  </vt:lpstr>
      <vt:lpstr>Der Bedarf sind Ausgaben…</vt:lpstr>
      <vt:lpstr>Herzlichen Dank!</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arauf musst du bei BU-Bedingungen achten!</dc:title>
  <dc:creator>Philip Wenzel</dc:creator>
  <cp:lastModifiedBy>Folke Bachmann</cp:lastModifiedBy>
  <cp:revision>21</cp:revision>
  <dcterms:created xsi:type="dcterms:W3CDTF">2024-01-16T07:21:00Z</dcterms:created>
  <dcterms:modified xsi:type="dcterms:W3CDTF">2024-07-12T14:58:05Z</dcterms:modified>
</cp:coreProperties>
</file>